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188" r:id="rId4"/>
    <p:sldMasterId id="2147485117" r:id="rId5"/>
  </p:sldMasterIdLst>
  <p:notesMasterIdLst>
    <p:notesMasterId r:id="rId13"/>
  </p:notesMasterIdLst>
  <p:sldIdLst>
    <p:sldId id="2141411663" r:id="rId6"/>
    <p:sldId id="2146847680" r:id="rId7"/>
    <p:sldId id="2146847685" r:id="rId8"/>
    <p:sldId id="2146847688" r:id="rId9"/>
    <p:sldId id="2146847684" r:id="rId10"/>
    <p:sldId id="2146847686" r:id="rId11"/>
    <p:sldId id="2146847687" r:id="rId12"/>
  </p:sldIdLst>
  <p:sldSz cx="12188825" cy="6858000"/>
  <p:notesSz cx="7102475" cy="9388475"/>
  <p:defaultTextStyle>
    <a:defPPr>
      <a:defRPr lang="en-US"/>
    </a:defPPr>
    <a:lvl1pPr marL="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6" userDrawn="1">
          <p15:clr>
            <a:srgbClr val="A4A3A4"/>
          </p15:clr>
        </p15:guide>
        <p15:guide id="2" pos="3839" userDrawn="1">
          <p15:clr>
            <a:srgbClr val="A4A3A4"/>
          </p15:clr>
        </p15:guide>
        <p15:guide id="3" orient="horz" pos="1152" userDrawn="1">
          <p15:clr>
            <a:srgbClr val="A4A3A4"/>
          </p15:clr>
        </p15:guide>
        <p15:guide id="4" orient="horz" pos="1392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A56E02E-F532-81F7-FD94-3FCE4104A923}" name="Anthony,Krysta" initials="A" userId="S::Krysta.Anthony@gartner.com::9244f7b8-c8dd-42c9-82f4-0cc36500d639" providerId="AD"/>
  <p188:author id="{B6D91A7E-042C-A350-BE01-0704C396F672}" name="Cohen,Maydad" initials="C" userId="S::Maydad.Cohen@gartner.com::f9bb5adc-be12-4e3b-a5bd-c202053f4165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oodwin, Brendan (OCD)" initials="G(" lastIdx="8" clrIdx="0">
    <p:extLst>
      <p:ext uri="{19B8F6BF-5375-455C-9EA6-DF929625EA0E}">
        <p15:presenceInfo xmlns:p15="http://schemas.microsoft.com/office/powerpoint/2012/main" userId="S::brendan.goodwin@mass.gov::8dfe72e5-c104-4215-bbf7-9e61923454d3" providerId="AD"/>
      </p:ext>
    </p:extLst>
  </p:cmAuthor>
  <p:cmAuthor id="2" name="ONeill-Rosales, Tara (OCD)" initials="O(" lastIdx="6" clrIdx="1">
    <p:extLst>
      <p:ext uri="{19B8F6BF-5375-455C-9EA6-DF929625EA0E}">
        <p15:presenceInfo xmlns:p15="http://schemas.microsoft.com/office/powerpoint/2012/main" userId="S::tara.oneill-rosales@mass.gov::4066a1b4-8f91-423b-8c21-9cee0a8e1c3f" providerId="AD"/>
      </p:ext>
    </p:extLst>
  </p:cmAuthor>
  <p:cmAuthor id="3" name="Rubin, Roberta (OCD)" initials="R(" lastIdx="97" clrIdx="2">
    <p:extLst>
      <p:ext uri="{19B8F6BF-5375-455C-9EA6-DF929625EA0E}">
        <p15:presenceInfo xmlns:p15="http://schemas.microsoft.com/office/powerpoint/2012/main" userId="S::roberta.rubin@mass.gov::2cbd6095-3de4-4e08-a541-e182ee3ba991" providerId="AD"/>
      </p:ext>
    </p:extLst>
  </p:cmAuthor>
  <p:cmAuthor id="4" name="Stitely, Amy (OCD)" initials="SA(" lastIdx="28" clrIdx="3">
    <p:extLst>
      <p:ext uri="{19B8F6BF-5375-455C-9EA6-DF929625EA0E}">
        <p15:presenceInfo xmlns:p15="http://schemas.microsoft.com/office/powerpoint/2012/main" userId="Stitely, Amy (OCD)" providerId="None"/>
      </p:ext>
    </p:extLst>
  </p:cmAuthor>
  <p:cmAuthor id="5" name="Cohen, Jesse (GOV)" initials="C(" lastIdx="13" clrIdx="4">
    <p:extLst>
      <p:ext uri="{19B8F6BF-5375-455C-9EA6-DF929625EA0E}">
        <p15:presenceInfo xmlns:p15="http://schemas.microsoft.com/office/powerpoint/2012/main" userId="S::jesse.cohen@mass.gov::58b4b4f6-c4dc-489e-8a31-af510377fc9e" providerId="AD"/>
      </p:ext>
    </p:extLst>
  </p:cmAuthor>
  <p:cmAuthor id="6" name="Stitely, Amy (OCD)" initials="S(" lastIdx="74" clrIdx="5">
    <p:extLst>
      <p:ext uri="{19B8F6BF-5375-455C-9EA6-DF929625EA0E}">
        <p15:presenceInfo xmlns:p15="http://schemas.microsoft.com/office/powerpoint/2012/main" userId="S::amy.stitely@mass.gov::8760cb38-3584-482c-9a32-a9a96f11ca98" providerId="AD"/>
      </p:ext>
    </p:extLst>
  </p:cmAuthor>
  <p:cmAuthor id="7" name="Rothman-Shore, Aviva (OCD)" initials="R(" lastIdx="6" clrIdx="6">
    <p:extLst>
      <p:ext uri="{19B8F6BF-5375-455C-9EA6-DF929625EA0E}">
        <p15:presenceInfo xmlns:p15="http://schemas.microsoft.com/office/powerpoint/2012/main" userId="S::aviva.rothman-shore@mass.gov::1423b96d-bcbc-4ed3-97dc-23b737719a51" providerId="AD"/>
      </p:ext>
    </p:extLst>
  </p:cmAuthor>
  <p:cmAuthor id="8" name="Schaffer, Adam (OCD)" initials="SA(" lastIdx="17" clrIdx="7">
    <p:extLst>
      <p:ext uri="{19B8F6BF-5375-455C-9EA6-DF929625EA0E}">
        <p15:presenceInfo xmlns:p15="http://schemas.microsoft.com/office/powerpoint/2012/main" userId="S::adam.schaffer2@mass.gov::765b3ac6-a7b7-4689-a5ea-7ac8268785cc" providerId="AD"/>
      </p:ext>
    </p:extLst>
  </p:cmAuthor>
  <p:cmAuthor id="9" name="Muollo, Robert (OCD)" initials="M(" lastIdx="11" clrIdx="8">
    <p:extLst>
      <p:ext uri="{19B8F6BF-5375-455C-9EA6-DF929625EA0E}">
        <p15:presenceInfo xmlns:p15="http://schemas.microsoft.com/office/powerpoint/2012/main" userId="S::robert.muollo@mass.gov::d6a5c99b-8656-48a3-9921-9cde94974709" providerId="AD"/>
      </p:ext>
    </p:extLst>
  </p:cmAuthor>
  <p:cmAuthor id="10" name="Bresnahan, Karen (OCD)" initials="B(" lastIdx="11" clrIdx="9">
    <p:extLst>
      <p:ext uri="{19B8F6BF-5375-455C-9EA6-DF929625EA0E}">
        <p15:presenceInfo xmlns:p15="http://schemas.microsoft.com/office/powerpoint/2012/main" userId="S::karen.bresnahan@mass.gov::31e138f5-f147-48e8-840d-aa3f7a4c3675" providerId="AD"/>
      </p:ext>
    </p:extLst>
  </p:cmAuthor>
  <p:cmAuthor id="11" name="Attia, Mark (A&amp;F)" initials="A(" lastIdx="19" clrIdx="10">
    <p:extLst>
      <p:ext uri="{19B8F6BF-5375-455C-9EA6-DF929625EA0E}">
        <p15:presenceInfo xmlns:p15="http://schemas.microsoft.com/office/powerpoint/2012/main" userId="S::mark.attia@mass.gov::4aeb8811-86d4-4fe3-aa7a-edc5a4bee0c3" providerId="AD"/>
      </p:ext>
    </p:extLst>
  </p:cmAuthor>
  <p:cmAuthor id="12" name="Bourque, Molly (EOHED)" initials="B(" lastIdx="2" clrIdx="11">
    <p:extLst>
      <p:ext uri="{19B8F6BF-5375-455C-9EA6-DF929625EA0E}">
        <p15:presenceInfo xmlns:p15="http://schemas.microsoft.com/office/powerpoint/2012/main" userId="S::molly.p.bourque@mass.gov::69a871c7-db1b-476b-88f2-143d86100df0" providerId="AD"/>
      </p:ext>
    </p:extLst>
  </p:cmAuthor>
  <p:cmAuthor id="13" name="David Eng" initials="DE" lastIdx="5" clrIdx="12">
    <p:extLst>
      <p:ext uri="{19B8F6BF-5375-455C-9EA6-DF929625EA0E}">
        <p15:presenceInfo xmlns:p15="http://schemas.microsoft.com/office/powerpoint/2012/main" userId="S::deng_masshousing.com#ext#@massgov.onmicrosoft.com::050a3089-fde2-4699-bd7d-40bf7c6f7fca" providerId="AD"/>
      </p:ext>
    </p:extLst>
  </p:cmAuthor>
  <p:cmAuthor id="14" name="Rachel Madden" initials="RM" lastIdx="4" clrIdx="13">
    <p:extLst>
      <p:ext uri="{19B8F6BF-5375-455C-9EA6-DF929625EA0E}">
        <p15:presenceInfo xmlns:p15="http://schemas.microsoft.com/office/powerpoint/2012/main" userId="S::RMadden@masshousing.com::93bbe638-57f6-4543-9b67-b838a0a6b207" providerId="AD"/>
      </p:ext>
    </p:extLst>
  </p:cmAuthor>
  <p:cmAuthor id="15" name="Maddox, Jennifer (OCD)" initials="M(" lastIdx="4" clrIdx="14">
    <p:extLst>
      <p:ext uri="{19B8F6BF-5375-455C-9EA6-DF929625EA0E}">
        <p15:presenceInfo xmlns:p15="http://schemas.microsoft.com/office/powerpoint/2012/main" userId="S::jennifer.maddox@mass.gov::a71eb79b-ec24-4c5a-9790-011062a5c6d7" providerId="AD"/>
      </p:ext>
    </p:extLst>
  </p:cmAuthor>
  <p:cmAuthor id="16" name="Rubin, Roberta (OCD)" initials="RR(" lastIdx="1" clrIdx="15">
    <p:extLst>
      <p:ext uri="{19B8F6BF-5375-455C-9EA6-DF929625EA0E}">
        <p15:presenceInfo xmlns:p15="http://schemas.microsoft.com/office/powerpoint/2012/main" userId="Rubin, Roberta (OCD)" providerId="None"/>
      </p:ext>
    </p:extLst>
  </p:cmAuthor>
  <p:cmAuthor id="17" name="Ullman, Rebecca" initials="UR" lastIdx="31" clrIdx="16">
    <p:extLst>
      <p:ext uri="{19B8F6BF-5375-455C-9EA6-DF929625EA0E}">
        <p15:presenceInfo xmlns:p15="http://schemas.microsoft.com/office/powerpoint/2012/main" userId="S::RUllman@trcsolutions.com::6f728da2-1fd3-492b-bebd-3c731c3cc5a0" providerId="AD"/>
      </p:ext>
    </p:extLst>
  </p:cmAuthor>
  <p:cmAuthor id="18" name="Kang, Christine (GOV)" initials="KC(" lastIdx="21" clrIdx="17">
    <p:extLst>
      <p:ext uri="{19B8F6BF-5375-455C-9EA6-DF929625EA0E}">
        <p15:presenceInfo xmlns:p15="http://schemas.microsoft.com/office/powerpoint/2012/main" userId="S::christine.kang@mass.gov::5a865a26-d2ba-4079-bcd2-99925c757c95" providerId="AD"/>
      </p:ext>
    </p:extLst>
  </p:cmAuthor>
  <p:cmAuthor id="19" name="Allen, Malia M. (EOHED)" initials="AMM(" lastIdx="1" clrIdx="18">
    <p:extLst>
      <p:ext uri="{19B8F6BF-5375-455C-9EA6-DF929625EA0E}">
        <p15:presenceInfo xmlns:p15="http://schemas.microsoft.com/office/powerpoint/2012/main" userId="S-1-5-21-1078081533-706699826-839522115-84374" providerId="AD"/>
      </p:ext>
    </p:extLst>
  </p:cmAuthor>
  <p:cmAuthor id="20" name="Rachel Madden" initials="RM [2]" lastIdx="11" clrIdx="19">
    <p:extLst>
      <p:ext uri="{19B8F6BF-5375-455C-9EA6-DF929625EA0E}">
        <p15:presenceInfo xmlns:p15="http://schemas.microsoft.com/office/powerpoint/2012/main" userId="S::rmadden_masshousing.com#ext#@massgov.onmicrosoft.com::470bb086-0261-4d43-beea-0209455dcc6f" providerId="AD"/>
      </p:ext>
    </p:extLst>
  </p:cmAuthor>
  <p:cmAuthor id="21" name="Amy Mullen" initials="AM" lastIdx="6" clrIdx="20">
    <p:extLst>
      <p:ext uri="{19B8F6BF-5375-455C-9EA6-DF929625EA0E}">
        <p15:presenceInfo xmlns:p15="http://schemas.microsoft.com/office/powerpoint/2012/main" userId="S::amy.mullen2@mass.gov::e81bce94-ddc1-4a47-a6f7-d6bba6815460" providerId="AD"/>
      </p:ext>
    </p:extLst>
  </p:cmAuthor>
  <p:cmAuthor id="22" name="Allen, Malia M. (EOHED)" initials="A(" lastIdx="44" clrIdx="21">
    <p:extLst>
      <p:ext uri="{19B8F6BF-5375-455C-9EA6-DF929625EA0E}">
        <p15:presenceInfo xmlns:p15="http://schemas.microsoft.com/office/powerpoint/2012/main" userId="S::malia.m.allen@mass.gov::2e3ed45b-3dd8-433a-a324-75694be93851" providerId="AD"/>
      </p:ext>
    </p:extLst>
  </p:cmAuthor>
  <p:cmAuthor id="23" name="Adams, Bryan J (OCD)" initials="A(" lastIdx="8" clrIdx="22">
    <p:extLst>
      <p:ext uri="{19B8F6BF-5375-455C-9EA6-DF929625EA0E}">
        <p15:presenceInfo xmlns:p15="http://schemas.microsoft.com/office/powerpoint/2012/main" userId="S::bryanj.adams@mass.gov::6719c872-4524-414e-97b8-e89bfa41f4ba" providerId="AD"/>
      </p:ext>
    </p:extLst>
  </p:cmAuthor>
  <p:cmAuthor id="24" name="Patel, Ketav (EOHED)" initials="P(" lastIdx="1" clrIdx="23">
    <p:extLst>
      <p:ext uri="{19B8F6BF-5375-455C-9EA6-DF929625EA0E}">
        <p15:presenceInfo xmlns:p15="http://schemas.microsoft.com/office/powerpoint/2012/main" userId="S::ketav.patel@mass.gov::4593aaf5-5cde-4fdb-9aa0-d4d30cd88254" providerId="AD"/>
      </p:ext>
    </p:extLst>
  </p:cmAuthor>
  <p:cmAuthor id="25" name="Attia, Mark (A&amp;F)" initials="MCA" lastIdx="1" clrIdx="24">
    <p:extLst>
      <p:ext uri="{19B8F6BF-5375-455C-9EA6-DF929625EA0E}">
        <p15:presenceInfo xmlns:p15="http://schemas.microsoft.com/office/powerpoint/2012/main" userId="Attia, Mark (A&amp;F)" providerId="None"/>
      </p:ext>
    </p:extLst>
  </p:cmAuthor>
  <p:cmAuthor id="26" name="Butman, Molly (OCD)" initials="B(" lastIdx="2" clrIdx="25">
    <p:extLst>
      <p:ext uri="{19B8F6BF-5375-455C-9EA6-DF929625EA0E}">
        <p15:presenceInfo xmlns:p15="http://schemas.microsoft.com/office/powerpoint/2012/main" userId="S::molly.butman@mass.gov::27ac62bc-2300-4c2d-ad2b-229bf03e1faa" providerId="AD"/>
      </p:ext>
    </p:extLst>
  </p:cmAuthor>
  <p:cmAuthor id="27" name="McKeon, Brian (GOV)" initials="M(" lastIdx="10" clrIdx="26">
    <p:extLst>
      <p:ext uri="{19B8F6BF-5375-455C-9EA6-DF929625EA0E}">
        <p15:presenceInfo xmlns:p15="http://schemas.microsoft.com/office/powerpoint/2012/main" userId="S::brian.mckeon@mass.gov::78515822-7350-4489-9b48-7b0b57c8f8ee" providerId="AD"/>
      </p:ext>
    </p:extLst>
  </p:cmAuthor>
  <p:cmAuthor id="28" name="Chien, Edward (OCD)" initials="C(" lastIdx="10" clrIdx="27">
    <p:extLst>
      <p:ext uri="{19B8F6BF-5375-455C-9EA6-DF929625EA0E}">
        <p15:presenceInfo xmlns:p15="http://schemas.microsoft.com/office/powerpoint/2012/main" userId="S::edward.chien@mass.gov::849a6413-7670-4a24-969c-f0b8ec02e690" providerId="AD"/>
      </p:ext>
    </p:extLst>
  </p:cmAuthor>
  <p:cmAuthor id="29" name="Newhall, Tyler (OCD)" initials="N(" lastIdx="1" clrIdx="28">
    <p:extLst>
      <p:ext uri="{19B8F6BF-5375-455C-9EA6-DF929625EA0E}">
        <p15:presenceInfo xmlns:p15="http://schemas.microsoft.com/office/powerpoint/2012/main" userId="S::tyler.newhall@mass.gov::b8046d80-f37b-47d7-953d-e4125017ade5" providerId="AD"/>
      </p:ext>
    </p:extLst>
  </p:cmAuthor>
  <p:cmAuthor id="30" name="Ross, Robert (GOV)" initials="R(" lastIdx="10" clrIdx="29">
    <p:extLst>
      <p:ext uri="{19B8F6BF-5375-455C-9EA6-DF929625EA0E}">
        <p15:presenceInfo xmlns:p15="http://schemas.microsoft.com/office/powerpoint/2012/main" userId="S::robert.ross@mass.gov::6a782312-559c-4e3f-8778-39ded04df360" providerId="AD"/>
      </p:ext>
    </p:extLst>
  </p:cmAuthor>
  <p:cmAuthor id="31" name="Dixon, Lisa (GOV)" initials="D(" lastIdx="1" clrIdx="30">
    <p:extLst>
      <p:ext uri="{19B8F6BF-5375-455C-9EA6-DF929625EA0E}">
        <p15:presenceInfo xmlns:p15="http://schemas.microsoft.com/office/powerpoint/2012/main" userId="S::lisa.dixon@massmail.state.ma.us::0102ffc9-1810-4a11-9af4-f525e512b0ea" providerId="AD"/>
      </p:ext>
    </p:extLst>
  </p:cmAuthor>
  <p:cmAuthor id="32" name="Murray, Cory (OCD)" initials="M(" lastIdx="4" clrIdx="31">
    <p:extLst>
      <p:ext uri="{19B8F6BF-5375-455C-9EA6-DF929625EA0E}">
        <p15:presenceInfo xmlns:p15="http://schemas.microsoft.com/office/powerpoint/2012/main" userId="S::cory.murray@mass.gov::96a80f88-2a13-4efe-b26a-4325663616a5" providerId="AD"/>
      </p:ext>
    </p:extLst>
  </p:cmAuthor>
  <p:cmAuthor id="33" name="Brevard, Alvina (OCD)" initials="B(" lastIdx="2" clrIdx="32">
    <p:extLst>
      <p:ext uri="{19B8F6BF-5375-455C-9EA6-DF929625EA0E}">
        <p15:presenceInfo xmlns:p15="http://schemas.microsoft.com/office/powerpoint/2012/main" userId="S::alvina.brevard@mass.gov::5768be77-ebd1-4951-bd25-b5fd57dd4ddf" providerId="AD"/>
      </p:ext>
    </p:extLst>
  </p:cmAuthor>
  <p:cmAuthor id="34" name="O'Hanlon, Rory C.  (EOHED)" initials="O(" lastIdx="1" clrIdx="33">
    <p:extLst>
      <p:ext uri="{19B8F6BF-5375-455C-9EA6-DF929625EA0E}">
        <p15:presenceInfo xmlns:p15="http://schemas.microsoft.com/office/powerpoint/2012/main" userId="S::rory.c.ohanlon@mass.gov::b85f697f-f195-4d84-93dd-de284b9b939b" providerId="AD"/>
      </p:ext>
    </p:extLst>
  </p:cmAuthor>
  <p:cmAuthor id="35" name="Letchford, Mary (OCD)" initials="L(" lastIdx="1" clrIdx="34">
    <p:extLst>
      <p:ext uri="{19B8F6BF-5375-455C-9EA6-DF929625EA0E}">
        <p15:presenceInfo xmlns:p15="http://schemas.microsoft.com/office/powerpoint/2012/main" userId="S::mary.letchford@mass.gov::9a32f4a7-25d3-4e15-960e-e00d3650e27d" providerId="AD"/>
      </p:ext>
    </p:extLst>
  </p:cmAuthor>
  <p:cmAuthor id="36" name="Wilhoite, Jake (OCD)" initials="W(" lastIdx="2" clrIdx="35">
    <p:extLst>
      <p:ext uri="{19B8F6BF-5375-455C-9EA6-DF929625EA0E}">
        <p15:presenceInfo xmlns:p15="http://schemas.microsoft.com/office/powerpoint/2012/main" userId="S::jake.wilhoite@mass.gov::b2ae1152-dca4-4a0c-b9bc-0d2f91cd3a9f" providerId="AD"/>
      </p:ext>
    </p:extLst>
  </p:cmAuthor>
  <p:cmAuthor id="37" name="Lin, Anne (OCD)" initials="L(" lastIdx="6" clrIdx="36">
    <p:extLst>
      <p:ext uri="{19B8F6BF-5375-455C-9EA6-DF929625EA0E}">
        <p15:presenceInfo xmlns:p15="http://schemas.microsoft.com/office/powerpoint/2012/main" userId="S::anne.lin@mass.gov::9f67a6df-e39b-4cdb-a10f-a4cb15e56e92" providerId="AD"/>
      </p:ext>
    </p:extLst>
  </p:cmAuthor>
  <p:cmAuthor id="38" name="Collins, Kerry (EPS)" initials="CK(" lastIdx="4" clrIdx="37">
    <p:extLst>
      <p:ext uri="{19B8F6BF-5375-455C-9EA6-DF929625EA0E}">
        <p15:presenceInfo xmlns:p15="http://schemas.microsoft.com/office/powerpoint/2012/main" userId="S::kerry.collins@mass.gov::faeb9980-173a-41f4-956c-abf71104df2e" providerId="AD"/>
      </p:ext>
    </p:extLst>
  </p:cmAuthor>
  <p:cmAuthor id="39" name="Venkatachalam, Krishna (EPS)" initials="VK(" lastIdx="11" clrIdx="38">
    <p:extLst>
      <p:ext uri="{19B8F6BF-5375-455C-9EA6-DF929625EA0E}">
        <p15:presenceInfo xmlns:p15="http://schemas.microsoft.com/office/powerpoint/2012/main" userId="S::krishna.venkatachalam@mass.gov::88a60ae9-9835-4cd0-9592-466b6a2111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1F497D"/>
    <a:srgbClr val="009AD7"/>
    <a:srgbClr val="19670F"/>
    <a:srgbClr val="999999"/>
    <a:srgbClr val="E8EFFA"/>
    <a:srgbClr val="F0F3F7"/>
    <a:srgbClr val="89A6C2"/>
    <a:srgbClr val="BFBFBF"/>
    <a:srgbClr val="A1AF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9FB8209-12C1-4726-A010-40D02BA18F1D}" v="42" dt="2022-02-02T20:12:43.04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0" d="100"/>
          <a:sy n="80" d="100"/>
        </p:scale>
        <p:origin x="87" y="87"/>
      </p:cViewPr>
      <p:guideLst>
        <p:guide orient="horz" pos="696"/>
        <p:guide pos="3839"/>
        <p:guide orient="horz" pos="1152"/>
        <p:guide orient="horz" pos="13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thony,Krysta" userId="9244f7b8-c8dd-42c9-82f4-0cc36500d639" providerId="ADAL" clId="{21A92318-60F7-481C-9B66-82E36B082D61}"/>
    <pc:docChg chg="custSel addSld delSld modSld sldOrd">
      <pc:chgData name="Anthony,Krysta" userId="9244f7b8-c8dd-42c9-82f4-0cc36500d639" providerId="ADAL" clId="{21A92318-60F7-481C-9B66-82E36B082D61}" dt="2021-11-23T22:44:21.733" v="212" actId="47"/>
      <pc:docMkLst>
        <pc:docMk/>
      </pc:docMkLst>
      <pc:sldChg chg="modSp mod">
        <pc:chgData name="Anthony,Krysta" userId="9244f7b8-c8dd-42c9-82f4-0cc36500d639" providerId="ADAL" clId="{21A92318-60F7-481C-9B66-82E36B082D61}" dt="2021-11-22T21:21:07.458" v="3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21A92318-60F7-481C-9B66-82E36B082D61}" dt="2021-11-22T21:21:07.458" v="3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">
        <pc:chgData name="Anthony,Krysta" userId="9244f7b8-c8dd-42c9-82f4-0cc36500d639" providerId="ADAL" clId="{21A92318-60F7-481C-9B66-82E36B082D61}" dt="2021-11-23T15:34:23.205" v="210" actId="20577"/>
        <pc:sldMkLst>
          <pc:docMk/>
          <pc:sldMk cId="1181283028" sldId="2146847660"/>
        </pc:sldMkLst>
        <pc:spChg chg="mod">
          <ac:chgData name="Anthony,Krysta" userId="9244f7b8-c8dd-42c9-82f4-0cc36500d639" providerId="ADAL" clId="{21A92318-60F7-481C-9B66-82E36B082D61}" dt="2021-11-23T15:34:23.205" v="210" actId="20577"/>
          <ac:spMkLst>
            <pc:docMk/>
            <pc:sldMk cId="1181283028" sldId="2146847660"/>
            <ac:spMk id="25" creationId="{E6BE25FD-F227-4AAF-810A-1D68834A65A4}"/>
          </ac:spMkLst>
        </pc:spChg>
      </pc:sldChg>
      <pc:sldChg chg="modSp del mod">
        <pc:chgData name="Anthony,Krysta" userId="9244f7b8-c8dd-42c9-82f4-0cc36500d639" providerId="ADAL" clId="{21A92318-60F7-481C-9B66-82E36B082D61}" dt="2021-11-22T21:23:24.519" v="157" actId="47"/>
        <pc:sldMkLst>
          <pc:docMk/>
          <pc:sldMk cId="2695683757" sldId="2146847661"/>
        </pc:sldMkLst>
        <pc:spChg chg="mod">
          <ac:chgData name="Anthony,Krysta" userId="9244f7b8-c8dd-42c9-82f4-0cc36500d639" providerId="ADAL" clId="{21A92318-60F7-481C-9B66-82E36B082D61}" dt="2021-11-22T21:23:02.999" v="136" actId="20577"/>
          <ac:spMkLst>
            <pc:docMk/>
            <pc:sldMk cId="2695683757" sldId="2146847661"/>
            <ac:spMk id="2" creationId="{47330703-C518-474D-B01F-5C2CD4261FE4}"/>
          </ac:spMkLst>
        </pc:spChg>
        <pc:spChg chg="mod">
          <ac:chgData name="Anthony,Krysta" userId="9244f7b8-c8dd-42c9-82f4-0cc36500d639" providerId="ADAL" clId="{21A92318-60F7-481C-9B66-82E36B082D61}" dt="2021-11-22T21:23:07.066" v="139" actId="20577"/>
          <ac:spMkLst>
            <pc:docMk/>
            <pc:sldMk cId="2695683757" sldId="2146847661"/>
            <ac:spMk id="7" creationId="{9F0C22E4-10E6-4AFD-AE53-3A04C8B96ADD}"/>
          </ac:spMkLst>
        </pc:spChg>
      </pc:sldChg>
      <pc:sldChg chg="del">
        <pc:chgData name="Anthony,Krysta" userId="9244f7b8-c8dd-42c9-82f4-0cc36500d639" providerId="ADAL" clId="{21A92318-60F7-481C-9B66-82E36B082D61}" dt="2021-11-23T22:44:21.733" v="212" actId="47"/>
        <pc:sldMkLst>
          <pc:docMk/>
          <pc:sldMk cId="1482281308" sldId="2146847666"/>
        </pc:sldMkLst>
      </pc:sldChg>
      <pc:sldChg chg="addSp delSp modSp mod">
        <pc:chgData name="Anthony,Krysta" userId="9244f7b8-c8dd-42c9-82f4-0cc36500d639" providerId="ADAL" clId="{21A92318-60F7-481C-9B66-82E36B082D61}" dt="2021-11-23T15:33:45.872" v="198" actId="207"/>
        <pc:sldMkLst>
          <pc:docMk/>
          <pc:sldMk cId="1713831338" sldId="2146847673"/>
        </pc:sldMkLst>
        <pc:spChg chg="mod">
          <ac:chgData name="Anthony,Krysta" userId="9244f7b8-c8dd-42c9-82f4-0cc36500d639" providerId="ADAL" clId="{21A92318-60F7-481C-9B66-82E36B082D61}" dt="2021-11-22T21:22:09.619" v="114"/>
          <ac:spMkLst>
            <pc:docMk/>
            <pc:sldMk cId="1713831338" sldId="2146847673"/>
            <ac:spMk id="72" creationId="{977D39CD-D73F-4E43-884F-D8A06FBD7821}"/>
          </ac:spMkLst>
        </pc:spChg>
        <pc:spChg chg="ord">
          <ac:chgData name="Anthony,Krysta" userId="9244f7b8-c8dd-42c9-82f4-0cc36500d639" providerId="ADAL" clId="{21A92318-60F7-481C-9B66-82E36B082D61}" dt="2021-11-22T21:22:22.002" v="120" actId="166"/>
          <ac:spMkLst>
            <pc:docMk/>
            <pc:sldMk cId="1713831338" sldId="2146847673"/>
            <ac:spMk id="178" creationId="{E1468106-E4D9-47D0-8B9E-7AF8E4BA7109}"/>
          </ac:spMkLst>
        </pc:spChg>
        <pc:spChg chg="mod">
          <ac:chgData name="Anthony,Krysta" userId="9244f7b8-c8dd-42c9-82f4-0cc36500d639" providerId="ADAL" clId="{21A92318-60F7-481C-9B66-82E36B082D61}" dt="2021-11-23T15:33:45.872" v="198" actId="207"/>
          <ac:spMkLst>
            <pc:docMk/>
            <pc:sldMk cId="1713831338" sldId="2146847673"/>
            <ac:spMk id="197" creationId="{C4EE1FCE-8729-4198-9757-1101E905B31E}"/>
          </ac:spMkLst>
        </pc:spChg>
        <pc:grpChg chg="add mod">
          <ac:chgData name="Anthony,Krysta" userId="9244f7b8-c8dd-42c9-82f4-0cc36500d639" providerId="ADAL" clId="{21A92318-60F7-481C-9B66-82E36B082D61}" dt="2021-11-22T21:22:11.739" v="119" actId="1037"/>
          <ac:grpSpMkLst>
            <pc:docMk/>
            <pc:sldMk cId="1713831338" sldId="2146847673"/>
            <ac:grpSpMk id="70" creationId="{5CE812FF-11CB-45BE-B2CB-04BE43250535}"/>
          </ac:grpSpMkLst>
        </pc:grpChg>
        <pc:grpChg chg="del mod">
          <ac:chgData name="Anthony,Krysta" userId="9244f7b8-c8dd-42c9-82f4-0cc36500d639" providerId="ADAL" clId="{21A92318-60F7-481C-9B66-82E36B082D61}" dt="2021-11-22T21:22:01.937" v="103" actId="21"/>
          <ac:grpSpMkLst>
            <pc:docMk/>
            <pc:sldMk cId="1713831338" sldId="2146847673"/>
            <ac:grpSpMk id="185" creationId="{A6136CB7-4EDA-4668-9E7A-5DEF668F3069}"/>
          </ac:grpSpMkLst>
        </pc:grpChg>
        <pc:grpChg chg="ord">
          <ac:chgData name="Anthony,Krysta" userId="9244f7b8-c8dd-42c9-82f4-0cc36500d639" providerId="ADAL" clId="{21A92318-60F7-481C-9B66-82E36B082D61}" dt="2021-11-22T21:22:22.002" v="120" actId="166"/>
          <ac:grpSpMkLst>
            <pc:docMk/>
            <pc:sldMk cId="1713831338" sldId="2146847673"/>
            <ac:grpSpMk id="194" creationId="{7D1A5912-C2DB-41FA-9C60-9E4BDF40284E}"/>
          </ac:grpSpMkLst>
        </pc:grpChg>
        <pc:cxnChg chg="mod">
          <ac:chgData name="Anthony,Krysta" userId="9244f7b8-c8dd-42c9-82f4-0cc36500d639" providerId="ADAL" clId="{21A92318-60F7-481C-9B66-82E36B082D61}" dt="2021-11-22T21:22:09.619" v="114"/>
          <ac:cxnSpMkLst>
            <pc:docMk/>
            <pc:sldMk cId="1713831338" sldId="2146847673"/>
            <ac:cxnSpMk id="71" creationId="{B314E371-9DFA-4691-B88D-E8B4A2B7F252}"/>
          </ac:cxnSpMkLst>
        </pc:cxnChg>
      </pc:sldChg>
      <pc:sldChg chg="del">
        <pc:chgData name="Anthony,Krysta" userId="9244f7b8-c8dd-42c9-82f4-0cc36500d639" providerId="ADAL" clId="{21A92318-60F7-481C-9B66-82E36B082D61}" dt="2021-11-22T21:23:35.334" v="191" actId="47"/>
        <pc:sldMkLst>
          <pc:docMk/>
          <pc:sldMk cId="4177386976" sldId="2146847674"/>
        </pc:sldMkLst>
      </pc:sldChg>
      <pc:sldChg chg="del">
        <pc:chgData name="Anthony,Krysta" userId="9244f7b8-c8dd-42c9-82f4-0cc36500d639" providerId="ADAL" clId="{21A92318-60F7-481C-9B66-82E36B082D61}" dt="2021-11-22T21:23:38.132" v="192" actId="47"/>
        <pc:sldMkLst>
          <pc:docMk/>
          <pc:sldMk cId="883052645" sldId="2146847676"/>
        </pc:sldMkLst>
      </pc:sldChg>
      <pc:sldChg chg="addSp delSp modSp mod">
        <pc:chgData name="Anthony,Krysta" userId="9244f7b8-c8dd-42c9-82f4-0cc36500d639" providerId="ADAL" clId="{21A92318-60F7-481C-9B66-82E36B082D61}" dt="2021-11-23T15:34:10.933" v="201" actId="20577"/>
        <pc:sldMkLst>
          <pc:docMk/>
          <pc:sldMk cId="3428675465" sldId="2146847677"/>
        </pc:sldMkLst>
        <pc:spChg chg="del">
          <ac:chgData name="Anthony,Krysta" userId="9244f7b8-c8dd-42c9-82f4-0cc36500d639" providerId="ADAL" clId="{21A92318-60F7-481C-9B66-82E36B082D61}" dt="2021-11-23T15:34:08.721" v="200" actId="478"/>
          <ac:spMkLst>
            <pc:docMk/>
            <pc:sldMk cId="3428675465" sldId="2146847677"/>
            <ac:spMk id="72" creationId="{BEBA8B6B-E5E9-498D-9C77-C0B774E5EA68}"/>
          </ac:spMkLst>
        </pc:spChg>
        <pc:spChg chg="del">
          <ac:chgData name="Anthony,Krysta" userId="9244f7b8-c8dd-42c9-82f4-0cc36500d639" providerId="ADAL" clId="{21A92318-60F7-481C-9B66-82E36B082D61}" dt="2021-11-23T15:34:08.721" v="200" actId="478"/>
          <ac:spMkLst>
            <pc:docMk/>
            <pc:sldMk cId="3428675465" sldId="2146847677"/>
            <ac:spMk id="73" creationId="{E1E2FA65-A34D-4B4A-AB15-4E19EA8FE01C}"/>
          </ac:spMkLst>
        </pc:spChg>
        <pc:spChg chg="mod">
          <ac:chgData name="Anthony,Krysta" userId="9244f7b8-c8dd-42c9-82f4-0cc36500d639" providerId="ADAL" clId="{21A92318-60F7-481C-9B66-82E36B082D61}" dt="2021-11-23T15:34:10.933" v="201" actId="20577"/>
          <ac:spMkLst>
            <pc:docMk/>
            <pc:sldMk cId="3428675465" sldId="2146847677"/>
            <ac:spMk id="75" creationId="{451DC8D7-EE22-4214-9A62-9AB42BB24744}"/>
          </ac:spMkLst>
        </pc:spChg>
        <pc:spChg chg="mod">
          <ac:chgData name="Anthony,Krysta" userId="9244f7b8-c8dd-42c9-82f4-0cc36500d639" providerId="ADAL" clId="{21A92318-60F7-481C-9B66-82E36B082D61}" dt="2021-11-22T21:22:04.398" v="104"/>
          <ac:spMkLst>
            <pc:docMk/>
            <pc:sldMk cId="3428675465" sldId="2146847677"/>
            <ac:spMk id="78" creationId="{0D64B3BC-9714-4F89-876F-106373BBFC99}"/>
          </ac:spMkLst>
        </pc:spChg>
        <pc:spChg chg="mod">
          <ac:chgData name="Anthony,Krysta" userId="9244f7b8-c8dd-42c9-82f4-0cc36500d639" providerId="ADAL" clId="{21A92318-60F7-481C-9B66-82E36B082D61}" dt="2021-11-23T15:33:49.950" v="199" actId="207"/>
          <ac:spMkLst>
            <pc:docMk/>
            <pc:sldMk cId="3428675465" sldId="2146847677"/>
            <ac:spMk id="197" creationId="{C4EE1FCE-8729-4198-9757-1101E905B31E}"/>
          </ac:spMkLst>
        </pc:spChg>
        <pc:grpChg chg="add del mod">
          <ac:chgData name="Anthony,Krysta" userId="9244f7b8-c8dd-42c9-82f4-0cc36500d639" providerId="ADAL" clId="{21A92318-60F7-481C-9B66-82E36B082D61}" dt="2021-11-22T21:22:08.282" v="113" actId="21"/>
          <ac:grpSpMkLst>
            <pc:docMk/>
            <pc:sldMk cId="3428675465" sldId="2146847677"/>
            <ac:grpSpMk id="76" creationId="{9F0C7038-1B0A-4C8E-AB22-73CA3DB0A55F}"/>
          </ac:grpSpMkLst>
        </pc:grpChg>
        <pc:grpChg chg="mod">
          <ac:chgData name="Anthony,Krysta" userId="9244f7b8-c8dd-42c9-82f4-0cc36500d639" providerId="ADAL" clId="{21A92318-60F7-481C-9B66-82E36B082D61}" dt="2021-11-22T21:22:27.916" v="125" actId="1037"/>
          <ac:grpSpMkLst>
            <pc:docMk/>
            <pc:sldMk cId="3428675465" sldId="2146847677"/>
            <ac:grpSpMk id="185" creationId="{A6136CB7-4EDA-4668-9E7A-5DEF668F3069}"/>
          </ac:grpSpMkLst>
        </pc:grpChg>
        <pc:cxnChg chg="mod">
          <ac:chgData name="Anthony,Krysta" userId="9244f7b8-c8dd-42c9-82f4-0cc36500d639" providerId="ADAL" clId="{21A92318-60F7-481C-9B66-82E36B082D61}" dt="2021-11-22T21:22:04.398" v="104"/>
          <ac:cxnSpMkLst>
            <pc:docMk/>
            <pc:sldMk cId="3428675465" sldId="2146847677"/>
            <ac:cxnSpMk id="77" creationId="{BB90903C-8F96-4E7D-BFE1-4604D772425A}"/>
          </ac:cxnSpMkLst>
        </pc:cxnChg>
      </pc:sldChg>
      <pc:sldChg chg="modSp add mod ord">
        <pc:chgData name="Anthony,Krysta" userId="9244f7b8-c8dd-42c9-82f4-0cc36500d639" providerId="ADAL" clId="{21A92318-60F7-481C-9B66-82E36B082D61}" dt="2021-11-22T21:23:22.095" v="156" actId="20577"/>
        <pc:sldMkLst>
          <pc:docMk/>
          <pc:sldMk cId="936241907" sldId="2146847678"/>
        </pc:sldMkLst>
        <pc:spChg chg="mod">
          <ac:chgData name="Anthony,Krysta" userId="9244f7b8-c8dd-42c9-82f4-0cc36500d639" providerId="ADAL" clId="{21A92318-60F7-481C-9B66-82E36B082D61}" dt="2021-11-22T21:23:19.569" v="152" actId="20577"/>
          <ac:spMkLst>
            <pc:docMk/>
            <pc:sldMk cId="936241907" sldId="2146847678"/>
            <ac:spMk id="2" creationId="{00000000-0000-0000-0000-000000000000}"/>
          </ac:spMkLst>
        </pc:spChg>
        <pc:spChg chg="mod">
          <ac:chgData name="Anthony,Krysta" userId="9244f7b8-c8dd-42c9-82f4-0cc36500d639" providerId="ADAL" clId="{21A92318-60F7-481C-9B66-82E36B082D61}" dt="2021-11-22T21:23:22.095" v="156" actId="20577"/>
          <ac:spMkLst>
            <pc:docMk/>
            <pc:sldMk cId="936241907" sldId="2146847678"/>
            <ac:spMk id="7" creationId="{8CC6A955-DC75-4883-BD7A-4FF83101B888}"/>
          </ac:spMkLst>
        </pc:spChg>
      </pc:sldChg>
      <pc:sldChg chg="modSp add del mod">
        <pc:chgData name="Anthony,Krysta" userId="9244f7b8-c8dd-42c9-82f4-0cc36500d639" providerId="ADAL" clId="{21A92318-60F7-481C-9B66-82E36B082D61}" dt="2021-11-23T15:34:30.396" v="211" actId="47"/>
        <pc:sldMkLst>
          <pc:docMk/>
          <pc:sldMk cId="3360592637" sldId="2146847679"/>
        </pc:sldMkLst>
        <pc:spChg chg="mod">
          <ac:chgData name="Anthony,Krysta" userId="9244f7b8-c8dd-42c9-82f4-0cc36500d639" providerId="ADAL" clId="{21A92318-60F7-481C-9B66-82E36B082D61}" dt="2021-11-22T21:23:32.363" v="190" actId="20577"/>
          <ac:spMkLst>
            <pc:docMk/>
            <pc:sldMk cId="3360592637" sldId="2146847679"/>
            <ac:spMk id="2" creationId="{00000000-0000-0000-0000-000000000000}"/>
          </ac:spMkLst>
        </pc:spChg>
      </pc:sldChg>
    </pc:docChg>
  </pc:docChgLst>
  <pc:docChgLst>
    <pc:chgData name="Cohen,Maydad" userId="f9bb5adc-be12-4e3b-a5bd-c202053f4165" providerId="ADAL" clId="{1456F06D-27AD-4757-9AB5-D00E236DDDCD}"/>
    <pc:docChg chg="custSel modSld">
      <pc:chgData name="Cohen,Maydad" userId="f9bb5adc-be12-4e3b-a5bd-c202053f4165" providerId="ADAL" clId="{1456F06D-27AD-4757-9AB5-D00E236DDDCD}" dt="2022-02-02T23:31:32.549" v="354" actId="20577"/>
      <pc:docMkLst>
        <pc:docMk/>
      </pc:docMkLst>
      <pc:sldChg chg="modSp mod addCm modCm">
        <pc:chgData name="Cohen,Maydad" userId="f9bb5adc-be12-4e3b-a5bd-c202053f4165" providerId="ADAL" clId="{1456F06D-27AD-4757-9AB5-D00E236DDDCD}" dt="2022-02-02T23:31:32.549" v="354" actId="20577"/>
        <pc:sldMkLst>
          <pc:docMk/>
          <pc:sldMk cId="740477672" sldId="2146847684"/>
        </pc:sldMkLst>
        <pc:spChg chg="mod">
          <ac:chgData name="Cohen,Maydad" userId="f9bb5adc-be12-4e3b-a5bd-c202053f4165" providerId="ADAL" clId="{1456F06D-27AD-4757-9AB5-D00E236DDDCD}" dt="2022-02-02T23:29:02.565" v="235" actId="20577"/>
          <ac:spMkLst>
            <pc:docMk/>
            <pc:sldMk cId="740477672" sldId="2146847684"/>
            <ac:spMk id="40" creationId="{F12E97CD-5E40-4BCC-A631-C655652868CE}"/>
          </ac:spMkLst>
        </pc:spChg>
        <pc:spChg chg="mod">
          <ac:chgData name="Cohen,Maydad" userId="f9bb5adc-be12-4e3b-a5bd-c202053f4165" providerId="ADAL" clId="{1456F06D-27AD-4757-9AB5-D00E236DDDCD}" dt="2022-02-02T23:30:15.294" v="296" actId="20577"/>
          <ac:spMkLst>
            <pc:docMk/>
            <pc:sldMk cId="740477672" sldId="2146847684"/>
            <ac:spMk id="41" creationId="{92543A14-FBB2-463A-85E0-AB3162620C5B}"/>
          </ac:spMkLst>
        </pc:spChg>
        <pc:spChg chg="mod">
          <ac:chgData name="Cohen,Maydad" userId="f9bb5adc-be12-4e3b-a5bd-c202053f4165" providerId="ADAL" clId="{1456F06D-27AD-4757-9AB5-D00E236DDDCD}" dt="2022-02-02T23:31:10.228" v="341" actId="20577"/>
          <ac:spMkLst>
            <pc:docMk/>
            <pc:sldMk cId="740477672" sldId="2146847684"/>
            <ac:spMk id="42" creationId="{5FF36391-FC8C-4253-AD5F-C2609DCEBC67}"/>
          </ac:spMkLst>
        </pc:spChg>
        <pc:spChg chg="mod">
          <ac:chgData name="Cohen,Maydad" userId="f9bb5adc-be12-4e3b-a5bd-c202053f4165" providerId="ADAL" clId="{1456F06D-27AD-4757-9AB5-D00E236DDDCD}" dt="2022-02-02T23:31:32.549" v="354" actId="20577"/>
          <ac:spMkLst>
            <pc:docMk/>
            <pc:sldMk cId="740477672" sldId="2146847684"/>
            <ac:spMk id="43" creationId="{002472DD-3DB4-43CE-918C-9B6C9BCBD3FF}"/>
          </ac:spMkLst>
        </pc:spChg>
      </pc:sldChg>
      <pc:sldChg chg="modSp mod addCm">
        <pc:chgData name="Cohen,Maydad" userId="f9bb5adc-be12-4e3b-a5bd-c202053f4165" providerId="ADAL" clId="{1456F06D-27AD-4757-9AB5-D00E236DDDCD}" dt="2022-02-02T23:25:29.882" v="141" actId="20577"/>
        <pc:sldMkLst>
          <pc:docMk/>
          <pc:sldMk cId="1745985839" sldId="2146847685"/>
        </pc:sldMkLst>
        <pc:spChg chg="mod">
          <ac:chgData name="Cohen,Maydad" userId="f9bb5adc-be12-4e3b-a5bd-c202053f4165" providerId="ADAL" clId="{1456F06D-27AD-4757-9AB5-D00E236DDDCD}" dt="2022-02-01T00:52:05.156" v="41" actId="20577"/>
          <ac:spMkLst>
            <pc:docMk/>
            <pc:sldMk cId="1745985839" sldId="2146847685"/>
            <ac:spMk id="11" creationId="{46025786-13F6-432F-8EE9-5AD1CCC24D84}"/>
          </ac:spMkLst>
        </pc:spChg>
        <pc:spChg chg="mod">
          <ac:chgData name="Cohen,Maydad" userId="f9bb5adc-be12-4e3b-a5bd-c202053f4165" providerId="ADAL" clId="{1456F06D-27AD-4757-9AB5-D00E236DDDCD}" dt="2022-02-02T23:25:29.882" v="141" actId="20577"/>
          <ac:spMkLst>
            <pc:docMk/>
            <pc:sldMk cId="1745985839" sldId="2146847685"/>
            <ac:spMk id="23" creationId="{3722B6AA-99BE-41FC-B787-1DDD56E85EBC}"/>
          </ac:spMkLst>
        </pc:spChg>
      </pc:sldChg>
      <pc:sldChg chg="modSp mod">
        <pc:chgData name="Cohen,Maydad" userId="f9bb5adc-be12-4e3b-a5bd-c202053f4165" providerId="ADAL" clId="{1456F06D-27AD-4757-9AB5-D00E236DDDCD}" dt="2022-02-02T23:27:39.109" v="207" actId="20577"/>
        <pc:sldMkLst>
          <pc:docMk/>
          <pc:sldMk cId="383630732" sldId="2146847688"/>
        </pc:sldMkLst>
        <pc:spChg chg="mod">
          <ac:chgData name="Cohen,Maydad" userId="f9bb5adc-be12-4e3b-a5bd-c202053f4165" providerId="ADAL" clId="{1456F06D-27AD-4757-9AB5-D00E236DDDCD}" dt="2022-02-02T23:26:55.567" v="201" actId="20577"/>
          <ac:spMkLst>
            <pc:docMk/>
            <pc:sldMk cId="383630732" sldId="2146847688"/>
            <ac:spMk id="9" creationId="{2CD19958-0AB4-4FAF-A11D-77B02F21D14D}"/>
          </ac:spMkLst>
        </pc:spChg>
        <pc:spChg chg="mod">
          <ac:chgData name="Cohen,Maydad" userId="f9bb5adc-be12-4e3b-a5bd-c202053f4165" providerId="ADAL" clId="{1456F06D-27AD-4757-9AB5-D00E236DDDCD}" dt="2022-02-02T23:27:39.109" v="207" actId="20577"/>
          <ac:spMkLst>
            <pc:docMk/>
            <pc:sldMk cId="383630732" sldId="2146847688"/>
            <ac:spMk id="11" creationId="{1247358B-5B45-4EC9-93B7-A9EE0DDB162E}"/>
          </ac:spMkLst>
        </pc:spChg>
      </pc:sldChg>
    </pc:docChg>
  </pc:docChgLst>
  <pc:docChgLst>
    <pc:chgData name="aditya.basheer@state.ma.us" userId="S::urn:spo:guest#aditya.basheer@state.ma.us::" providerId="AD" clId="Web-{733D47E6-BFB4-B87D-7E8E-E00AEE00112A}"/>
    <pc:docChg chg="modSld">
      <pc:chgData name="aditya.basheer@state.ma.us" userId="S::urn:spo:guest#aditya.basheer@state.ma.us::" providerId="AD" clId="Web-{733D47E6-BFB4-B87D-7E8E-E00AEE00112A}" dt="2021-11-19T15:31:29.179" v="87" actId="1076"/>
      <pc:docMkLst>
        <pc:docMk/>
      </pc:docMkLst>
      <pc:sldChg chg="addSp delSp modSp">
        <pc:chgData name="aditya.basheer@state.ma.us" userId="S::urn:spo:guest#aditya.basheer@state.ma.us::" providerId="AD" clId="Web-{733D47E6-BFB4-B87D-7E8E-E00AEE00112A}" dt="2021-11-19T15:31:29.179" v="87" actId="1076"/>
        <pc:sldMkLst>
          <pc:docMk/>
          <pc:sldMk cId="1482281308" sldId="2146847666"/>
        </pc:sldMkLst>
        <pc:spChg chg="add mod">
          <ac:chgData name="aditya.basheer@state.ma.us" userId="S::urn:spo:guest#aditya.basheer@state.ma.us::" providerId="AD" clId="Web-{733D47E6-BFB4-B87D-7E8E-E00AEE00112A}" dt="2021-11-19T15:29:15.785" v="54"/>
          <ac:spMkLst>
            <pc:docMk/>
            <pc:sldMk cId="1482281308" sldId="2146847666"/>
            <ac:spMk id="3" creationId="{3CAAB6C0-6EA3-4BE7-9C93-B4014AB8A035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38.709" v="74" actId="20577"/>
          <ac:spMkLst>
            <pc:docMk/>
            <pc:sldMk cId="1482281308" sldId="2146847666"/>
            <ac:spMk id="7" creationId="{1ED5D1A7-C0C7-4AFE-946F-5F87D0489426}"/>
          </ac:spMkLst>
        </pc:spChg>
        <pc:spChg chg="add del">
          <ac:chgData name="aditya.basheer@state.ma.us" userId="S::urn:spo:guest#aditya.basheer@state.ma.us::" providerId="AD" clId="Web-{733D47E6-BFB4-B87D-7E8E-E00AEE00112A}" dt="2021-11-19T15:29:51.098" v="64"/>
          <ac:spMkLst>
            <pc:docMk/>
            <pc:sldMk cId="1482281308" sldId="2146847666"/>
            <ac:spMk id="8" creationId="{1E1C70F4-0082-4849-876D-011A0A84AAB1}"/>
          </ac:spMkLst>
        </pc:spChg>
        <pc:spChg chg="del">
          <ac:chgData name="aditya.basheer@state.ma.us" userId="S::urn:spo:guest#aditya.basheer@state.ma.us::" providerId="AD" clId="Web-{733D47E6-BFB4-B87D-7E8E-E00AEE00112A}" dt="2021-11-19T14:55:17.969" v="0"/>
          <ac:spMkLst>
            <pc:docMk/>
            <pc:sldMk cId="1482281308" sldId="2146847666"/>
            <ac:spMk id="8" creationId="{D216223E-CA66-4E09-96D1-0806A2CB7E4F}"/>
          </ac:spMkLst>
        </pc:spChg>
        <pc:spChg chg="add del">
          <ac:chgData name="aditya.basheer@state.ma.us" userId="S::urn:spo:guest#aditya.basheer@state.ma.us::" providerId="AD" clId="Web-{733D47E6-BFB4-B87D-7E8E-E00AEE00112A}" dt="2021-11-19T15:29:19.566" v="55"/>
          <ac:spMkLst>
            <pc:docMk/>
            <pc:sldMk cId="1482281308" sldId="2146847666"/>
            <ac:spMk id="15" creationId="{C6D93094-3B38-44BC-B582-AC3E751C8A12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47.850" v="77" actId="14100"/>
          <ac:spMkLst>
            <pc:docMk/>
            <pc:sldMk cId="1482281308" sldId="2146847666"/>
            <ac:spMk id="16" creationId="{1BA96242-1B07-45F0-8021-C6A4DB1BD1FA}"/>
          </ac:spMkLst>
        </pc:spChg>
        <pc:spChg chg="add del">
          <ac:chgData name="aditya.basheer@state.ma.us" userId="S::urn:spo:guest#aditya.basheer@state.ma.us::" providerId="AD" clId="Web-{733D47E6-BFB4-B87D-7E8E-E00AEE00112A}" dt="2021-11-19T15:30:52.178" v="78"/>
          <ac:spMkLst>
            <pc:docMk/>
            <pc:sldMk cId="1482281308" sldId="2146847666"/>
            <ac:spMk id="17" creationId="{5F8CC7A2-3568-4DBD-A0E7-C146C4D6B4B0}"/>
          </ac:spMkLst>
        </pc:spChg>
        <pc:spChg chg="add mod">
          <ac:chgData name="aditya.basheer@state.ma.us" userId="S::urn:spo:guest#aditya.basheer@state.ma.us::" providerId="AD" clId="Web-{733D47E6-BFB4-B87D-7E8E-E00AEE00112A}" dt="2021-11-19T15:30:42.771" v="75" actId="1076"/>
          <ac:spMkLst>
            <pc:docMk/>
            <pc:sldMk cId="1482281308" sldId="2146847666"/>
            <ac:spMk id="18" creationId="{F007B991-45D2-4B38-8BDE-C07062829859}"/>
          </ac:spMkLst>
        </pc:spChg>
        <pc:picChg chg="add del mod">
          <ac:chgData name="aditya.basheer@state.ma.us" userId="S::urn:spo:guest#aditya.basheer@state.ma.us::" providerId="AD" clId="Web-{733D47E6-BFB4-B87D-7E8E-E00AEE00112A}" dt="2021-11-19T14:58:38.817" v="4"/>
          <ac:picMkLst>
            <pc:docMk/>
            <pc:sldMk cId="1482281308" sldId="2146847666"/>
            <ac:picMk id="3" creationId="{F8F6D503-68E5-42C7-B6E5-91CC9158938D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0:54.725" v="79" actId="1076"/>
          <ac:picMkLst>
            <pc:docMk/>
            <pc:sldMk cId="1482281308" sldId="2146847666"/>
            <ac:picMk id="9" creationId="{9EB161DD-B560-4837-B9B4-A82B7944EC26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6.174" v="40"/>
          <ac:picMkLst>
            <pc:docMk/>
            <pc:sldMk cId="1482281308" sldId="2146847666"/>
            <ac:picMk id="10" creationId="{B49F1D5B-2DD7-4410-BE41-1F51E45E5508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1:00.287" v="80" actId="1076"/>
          <ac:picMkLst>
            <pc:docMk/>
            <pc:sldMk cId="1482281308" sldId="2146847666"/>
            <ac:picMk id="11" creationId="{B8E6D8C9-946E-476F-BC84-DFCC25054569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6.127" v="39"/>
          <ac:picMkLst>
            <pc:docMk/>
            <pc:sldMk cId="1482281308" sldId="2146847666"/>
            <ac:picMk id="12" creationId="{894FDA77-4D11-4260-92E5-956847043889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31:05.819" v="82"/>
          <ac:picMkLst>
            <pc:docMk/>
            <pc:sldMk cId="1482281308" sldId="2146847666"/>
            <ac:picMk id="13" creationId="{C6553F22-8E0D-47CF-B6FF-F2C6BE9CD037}"/>
          </ac:picMkLst>
        </pc:picChg>
        <pc:picChg chg="add del mod">
          <ac:chgData name="aditya.basheer@state.ma.us" userId="S::urn:spo:guest#aditya.basheer@state.ma.us::" providerId="AD" clId="Web-{733D47E6-BFB4-B87D-7E8E-E00AEE00112A}" dt="2021-11-19T15:28:13.424" v="38"/>
          <ac:picMkLst>
            <pc:docMk/>
            <pc:sldMk cId="1482281308" sldId="2146847666"/>
            <ac:picMk id="14" creationId="{6FA33710-15F5-4642-94AE-EFB4C2FE3FE2}"/>
          </ac:picMkLst>
        </pc:picChg>
        <pc:picChg chg="add mod">
          <ac:chgData name="aditya.basheer@state.ma.us" userId="S::urn:spo:guest#aditya.basheer@state.ma.us::" providerId="AD" clId="Web-{733D47E6-BFB4-B87D-7E8E-E00AEE00112A}" dt="2021-11-19T15:31:29.179" v="87" actId="1076"/>
          <ac:picMkLst>
            <pc:docMk/>
            <pc:sldMk cId="1482281308" sldId="2146847666"/>
            <ac:picMk id="19" creationId="{72D53D68-7E39-4FD9-9130-516CD59F3CB2}"/>
          </ac:picMkLst>
        </pc:picChg>
      </pc:sldChg>
    </pc:docChg>
  </pc:docChgLst>
  <pc:docChgLst>
    <pc:chgData name="Anthony,Krysta" userId="9244f7b8-c8dd-42c9-82f4-0cc36500d639" providerId="ADAL" clId="{1849F4E2-0CC7-415C-8DE4-60B651D88368}"/>
    <pc:docChg chg="custSel modSld">
      <pc:chgData name="Anthony,Krysta" userId="9244f7b8-c8dd-42c9-82f4-0cc36500d639" providerId="ADAL" clId="{1849F4E2-0CC7-415C-8DE4-60B651D88368}" dt="2021-12-03T21:48:25.348" v="136" actId="20577"/>
      <pc:docMkLst>
        <pc:docMk/>
      </pc:docMkLst>
      <pc:sldChg chg="modSp mod modNotes">
        <pc:chgData name="Anthony,Krysta" userId="9244f7b8-c8dd-42c9-82f4-0cc36500d639" providerId="ADAL" clId="{1849F4E2-0CC7-415C-8DE4-60B651D88368}" dt="2021-12-03T21:44:59.779" v="32" actId="790"/>
        <pc:sldMkLst>
          <pc:docMk/>
          <pc:sldMk cId="1922715581" sldId="2141411663"/>
        </pc:sldMkLst>
        <pc:spChg chg="mod">
          <ac:chgData name="Anthony,Krysta" userId="9244f7b8-c8dd-42c9-82f4-0cc36500d639" providerId="ADAL" clId="{1849F4E2-0CC7-415C-8DE4-60B651D88368}" dt="2021-12-03T21:44:59.773" v="28" actId="790"/>
          <ac:spMkLst>
            <pc:docMk/>
            <pc:sldMk cId="1922715581" sldId="2141411663"/>
            <ac:spMk id="2" creationId="{00000000-0000-0000-0000-000000000000}"/>
          </ac:spMkLst>
        </pc:spChg>
        <pc:spChg chg="mod">
          <ac:chgData name="Anthony,Krysta" userId="9244f7b8-c8dd-42c9-82f4-0cc36500d639" providerId="ADAL" clId="{1849F4E2-0CC7-415C-8DE4-60B651D88368}" dt="2021-12-03T21:44:59.775" v="29" actId="790"/>
          <ac:spMkLst>
            <pc:docMk/>
            <pc:sldMk cId="1922715581" sldId="2141411663"/>
            <ac:spMk id="3" creationId="{00000000-0000-0000-0000-000000000000}"/>
          </ac:spMkLst>
        </pc:spChg>
        <pc:spChg chg="mod">
          <ac:chgData name="Anthony,Krysta" userId="9244f7b8-c8dd-42c9-82f4-0cc36500d639" providerId="ADAL" clId="{1849F4E2-0CC7-415C-8DE4-60B651D88368}" dt="2021-12-03T21:44:59.776" v="30" actId="790"/>
          <ac:spMkLst>
            <pc:docMk/>
            <pc:sldMk cId="1922715581" sldId="2141411663"/>
            <ac:spMk id="4" creationId="{F8120A43-DD36-4BC4-8864-7EEDB52E555C}"/>
          </ac:spMkLst>
        </pc:spChg>
        <pc:spChg chg="mod">
          <ac:chgData name="Anthony,Krysta" userId="9244f7b8-c8dd-42c9-82f4-0cc36500d639" providerId="ADAL" clId="{1849F4E2-0CC7-415C-8DE4-60B651D88368}" dt="2021-12-03T21:44:59.777" v="31" actId="790"/>
          <ac:spMkLst>
            <pc:docMk/>
            <pc:sldMk cId="1922715581" sldId="2141411663"/>
            <ac:spMk id="5" creationId="{D33E7E51-10C8-42EF-A2FD-F69FB450DC79}"/>
          </ac:spMkLst>
        </pc:spChg>
        <pc:spChg chg="mod">
          <ac:chgData name="Anthony,Krysta" userId="9244f7b8-c8dd-42c9-82f4-0cc36500d639" providerId="ADAL" clId="{1849F4E2-0CC7-415C-8DE4-60B651D88368}" dt="2021-12-03T21:44:59.766" v="27" actId="790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 modNotes">
        <pc:chgData name="Anthony,Krysta" userId="9244f7b8-c8dd-42c9-82f4-0cc36500d639" providerId="ADAL" clId="{1849F4E2-0CC7-415C-8DE4-60B651D88368}" dt="2021-12-03T21:44:59.821" v="75" actId="790"/>
        <pc:sldMkLst>
          <pc:docMk/>
          <pc:sldMk cId="3481125458" sldId="2146847680"/>
        </pc:sldMkLst>
        <pc:spChg chg="mod">
          <ac:chgData name="Anthony,Krysta" userId="9244f7b8-c8dd-42c9-82f4-0cc36500d639" providerId="ADAL" clId="{1849F4E2-0CC7-415C-8DE4-60B651D88368}" dt="2021-12-03T21:44:59.780" v="33" actId="790"/>
          <ac:spMkLst>
            <pc:docMk/>
            <pc:sldMk cId="3481125458" sldId="2146847680"/>
            <ac:spMk id="3" creationId="{DCCED1C0-4608-413E-B871-3D0453A55A19}"/>
          </ac:spMkLst>
        </pc:spChg>
        <pc:spChg chg="mod">
          <ac:chgData name="Anthony,Krysta" userId="9244f7b8-c8dd-42c9-82f4-0cc36500d639" providerId="ADAL" clId="{1849F4E2-0CC7-415C-8DE4-60B651D88368}" dt="2021-12-03T21:44:59.781" v="34" actId="790"/>
          <ac:spMkLst>
            <pc:docMk/>
            <pc:sldMk cId="3481125458" sldId="2146847680"/>
            <ac:spMk id="4" creationId="{AFA40F7D-1B48-4BBA-8252-05465CC96A4E}"/>
          </ac:spMkLst>
        </pc:spChg>
        <pc:spChg chg="mod">
          <ac:chgData name="Anthony,Krysta" userId="9244f7b8-c8dd-42c9-82f4-0cc36500d639" providerId="ADAL" clId="{1849F4E2-0CC7-415C-8DE4-60B651D88368}" dt="2021-12-03T21:44:59.782" v="35" actId="790"/>
          <ac:spMkLst>
            <pc:docMk/>
            <pc:sldMk cId="3481125458" sldId="2146847680"/>
            <ac:spMk id="5" creationId="{B0356613-D6D1-484F-9BD3-75A29AB9EEF1}"/>
          </ac:spMkLst>
        </pc:spChg>
        <pc:spChg chg="mod">
          <ac:chgData name="Anthony,Krysta" userId="9244f7b8-c8dd-42c9-82f4-0cc36500d639" providerId="ADAL" clId="{1849F4E2-0CC7-415C-8DE4-60B651D88368}" dt="2021-12-03T21:44:59.798" v="53" actId="790"/>
          <ac:spMkLst>
            <pc:docMk/>
            <pc:sldMk cId="3481125458" sldId="2146847680"/>
            <ac:spMk id="8" creationId="{395C6703-3054-47F6-845F-F9B5D9081A25}"/>
          </ac:spMkLst>
        </pc:spChg>
        <pc:spChg chg="mod">
          <ac:chgData name="Anthony,Krysta" userId="9244f7b8-c8dd-42c9-82f4-0cc36500d639" providerId="ADAL" clId="{1849F4E2-0CC7-415C-8DE4-60B651D88368}" dt="2021-12-03T21:44:59.787" v="42" actId="790"/>
          <ac:spMkLst>
            <pc:docMk/>
            <pc:sldMk cId="3481125458" sldId="2146847680"/>
            <ac:spMk id="10" creationId="{0A17F261-5737-4261-8E06-8EDAE1E350C0}"/>
          </ac:spMkLst>
        </pc:spChg>
        <pc:spChg chg="mod">
          <ac:chgData name="Anthony,Krysta" userId="9244f7b8-c8dd-42c9-82f4-0cc36500d639" providerId="ADAL" clId="{1849F4E2-0CC7-415C-8DE4-60B651D88368}" dt="2021-12-03T21:44:59.788" v="43" actId="790"/>
          <ac:spMkLst>
            <pc:docMk/>
            <pc:sldMk cId="3481125458" sldId="2146847680"/>
            <ac:spMk id="11" creationId="{7DC316BA-D0B0-4CB1-80A4-5AF4F09C86AC}"/>
          </ac:spMkLst>
        </pc:spChg>
        <pc:spChg chg="mod">
          <ac:chgData name="Anthony,Krysta" userId="9244f7b8-c8dd-42c9-82f4-0cc36500d639" providerId="ADAL" clId="{1849F4E2-0CC7-415C-8DE4-60B651D88368}" dt="2021-12-03T21:44:59.789" v="44" actId="790"/>
          <ac:spMkLst>
            <pc:docMk/>
            <pc:sldMk cId="3481125458" sldId="2146847680"/>
            <ac:spMk id="12" creationId="{E7B94D45-67A5-4D5F-8CFF-3F2D83B32970}"/>
          </ac:spMkLst>
        </pc:spChg>
        <pc:spChg chg="mod">
          <ac:chgData name="Anthony,Krysta" userId="9244f7b8-c8dd-42c9-82f4-0cc36500d639" providerId="ADAL" clId="{1849F4E2-0CC7-415C-8DE4-60B651D88368}" dt="2021-12-03T21:44:59.790" v="45" actId="790"/>
          <ac:spMkLst>
            <pc:docMk/>
            <pc:sldMk cId="3481125458" sldId="2146847680"/>
            <ac:spMk id="13" creationId="{A66892C0-6130-4079-A522-21E805347E16}"/>
          </ac:spMkLst>
        </pc:spChg>
        <pc:spChg chg="mod">
          <ac:chgData name="Anthony,Krysta" userId="9244f7b8-c8dd-42c9-82f4-0cc36500d639" providerId="ADAL" clId="{1849F4E2-0CC7-415C-8DE4-60B651D88368}" dt="2021-12-03T21:44:59.791" v="46" actId="790"/>
          <ac:spMkLst>
            <pc:docMk/>
            <pc:sldMk cId="3481125458" sldId="2146847680"/>
            <ac:spMk id="14" creationId="{E17CE04B-5203-43DF-942E-FD3378936612}"/>
          </ac:spMkLst>
        </pc:spChg>
        <pc:spChg chg="mod">
          <ac:chgData name="Anthony,Krysta" userId="9244f7b8-c8dd-42c9-82f4-0cc36500d639" providerId="ADAL" clId="{1849F4E2-0CC7-415C-8DE4-60B651D88368}" dt="2021-12-03T21:44:59.784" v="38" actId="790"/>
          <ac:spMkLst>
            <pc:docMk/>
            <pc:sldMk cId="3481125458" sldId="2146847680"/>
            <ac:spMk id="17" creationId="{0F14D400-C6A1-447E-83DC-8B655A69CFF5}"/>
          </ac:spMkLst>
        </pc:spChg>
        <pc:spChg chg="mod">
          <ac:chgData name="Anthony,Krysta" userId="9244f7b8-c8dd-42c9-82f4-0cc36500d639" providerId="ADAL" clId="{1849F4E2-0CC7-415C-8DE4-60B651D88368}" dt="2021-12-03T21:44:59.785" v="39" actId="790"/>
          <ac:spMkLst>
            <pc:docMk/>
            <pc:sldMk cId="3481125458" sldId="2146847680"/>
            <ac:spMk id="18" creationId="{0E50B980-92FC-4742-BF17-479C6B07E04A}"/>
          </ac:spMkLst>
        </pc:spChg>
        <pc:spChg chg="mod">
          <ac:chgData name="Anthony,Krysta" userId="9244f7b8-c8dd-42c9-82f4-0cc36500d639" providerId="ADAL" clId="{1849F4E2-0CC7-415C-8DE4-60B651D88368}" dt="2021-12-03T21:44:59.792" v="47" actId="790"/>
          <ac:spMkLst>
            <pc:docMk/>
            <pc:sldMk cId="3481125458" sldId="2146847680"/>
            <ac:spMk id="19" creationId="{60896281-FAA4-4D3A-B43C-B48E2C6FF796}"/>
          </ac:spMkLst>
        </pc:spChg>
        <pc:spChg chg="mod">
          <ac:chgData name="Anthony,Krysta" userId="9244f7b8-c8dd-42c9-82f4-0cc36500d639" providerId="ADAL" clId="{1849F4E2-0CC7-415C-8DE4-60B651D88368}" dt="2021-12-03T21:44:59.793" v="48" actId="790"/>
          <ac:spMkLst>
            <pc:docMk/>
            <pc:sldMk cId="3481125458" sldId="2146847680"/>
            <ac:spMk id="20" creationId="{2FEF7FB1-41D9-4514-926D-92B5C27F0FA4}"/>
          </ac:spMkLst>
        </pc:spChg>
        <pc:spChg chg="mod">
          <ac:chgData name="Anthony,Krysta" userId="9244f7b8-c8dd-42c9-82f4-0cc36500d639" providerId="ADAL" clId="{1849F4E2-0CC7-415C-8DE4-60B651D88368}" dt="2021-12-03T21:44:59.794" v="49" actId="790"/>
          <ac:spMkLst>
            <pc:docMk/>
            <pc:sldMk cId="3481125458" sldId="2146847680"/>
            <ac:spMk id="21" creationId="{F3357282-60AB-48EB-986E-56D9B6DFD782}"/>
          </ac:spMkLst>
        </pc:spChg>
        <pc:spChg chg="mod">
          <ac:chgData name="Anthony,Krysta" userId="9244f7b8-c8dd-42c9-82f4-0cc36500d639" providerId="ADAL" clId="{1849F4E2-0CC7-415C-8DE4-60B651D88368}" dt="2021-12-03T21:44:59.795" v="50" actId="790"/>
          <ac:spMkLst>
            <pc:docMk/>
            <pc:sldMk cId="3481125458" sldId="2146847680"/>
            <ac:spMk id="22" creationId="{C07B5C38-319C-409E-9FB3-921850607F2A}"/>
          </ac:spMkLst>
        </pc:spChg>
        <pc:spChg chg="mod">
          <ac:chgData name="Anthony,Krysta" userId="9244f7b8-c8dd-42c9-82f4-0cc36500d639" providerId="ADAL" clId="{1849F4E2-0CC7-415C-8DE4-60B651D88368}" dt="2021-12-03T21:44:59.814" v="69" actId="790"/>
          <ac:spMkLst>
            <pc:docMk/>
            <pc:sldMk cId="3481125458" sldId="2146847680"/>
            <ac:spMk id="23" creationId="{BDBC7261-1AC3-4D14-A38A-8C245DB6598A}"/>
          </ac:spMkLst>
        </pc:spChg>
        <pc:spChg chg="mod">
          <ac:chgData name="Anthony,Krysta" userId="9244f7b8-c8dd-42c9-82f4-0cc36500d639" providerId="ADAL" clId="{1849F4E2-0CC7-415C-8DE4-60B651D88368}" dt="2021-12-03T21:44:59.815" v="70" actId="790"/>
          <ac:spMkLst>
            <pc:docMk/>
            <pc:sldMk cId="3481125458" sldId="2146847680"/>
            <ac:spMk id="24" creationId="{80AF158F-89F6-43E1-87F5-C8A3A316C397}"/>
          </ac:spMkLst>
        </pc:spChg>
        <pc:spChg chg="mod">
          <ac:chgData name="Anthony,Krysta" userId="9244f7b8-c8dd-42c9-82f4-0cc36500d639" providerId="ADAL" clId="{1849F4E2-0CC7-415C-8DE4-60B651D88368}" dt="2021-12-03T21:44:59.816" v="71" actId="790"/>
          <ac:spMkLst>
            <pc:docMk/>
            <pc:sldMk cId="3481125458" sldId="2146847680"/>
            <ac:spMk id="25" creationId="{FAFE3212-D928-4A64-B2FC-54FD9FD61F3F}"/>
          </ac:spMkLst>
        </pc:spChg>
        <pc:spChg chg="mod">
          <ac:chgData name="Anthony,Krysta" userId="9244f7b8-c8dd-42c9-82f4-0cc36500d639" providerId="ADAL" clId="{1849F4E2-0CC7-415C-8DE4-60B651D88368}" dt="2021-12-03T21:44:59.817" v="72" actId="790"/>
          <ac:spMkLst>
            <pc:docMk/>
            <pc:sldMk cId="3481125458" sldId="2146847680"/>
            <ac:spMk id="26" creationId="{4AF40B7C-2569-476B-AC51-BD76AB0ECB42}"/>
          </ac:spMkLst>
        </pc:spChg>
        <pc:spChg chg="mod">
          <ac:chgData name="Anthony,Krysta" userId="9244f7b8-c8dd-42c9-82f4-0cc36500d639" providerId="ADAL" clId="{1849F4E2-0CC7-415C-8DE4-60B651D88368}" dt="2021-12-03T21:44:59.818" v="73" actId="790"/>
          <ac:spMkLst>
            <pc:docMk/>
            <pc:sldMk cId="3481125458" sldId="2146847680"/>
            <ac:spMk id="27" creationId="{5921D740-263C-431C-BBFF-45BA602C43AE}"/>
          </ac:spMkLst>
        </pc:spChg>
        <pc:spChg chg="mod">
          <ac:chgData name="Anthony,Krysta" userId="9244f7b8-c8dd-42c9-82f4-0cc36500d639" providerId="ADAL" clId="{1849F4E2-0CC7-415C-8DE4-60B651D88368}" dt="2021-12-03T21:44:59.813" v="68" actId="790"/>
          <ac:spMkLst>
            <pc:docMk/>
            <pc:sldMk cId="3481125458" sldId="2146847680"/>
            <ac:spMk id="29" creationId="{C760DD9B-2162-4AE1-A877-2D26CE72C0B8}"/>
          </ac:spMkLst>
        </pc:spChg>
        <pc:spChg chg="mod">
          <ac:chgData name="Anthony,Krysta" userId="9244f7b8-c8dd-42c9-82f4-0cc36500d639" providerId="ADAL" clId="{1849F4E2-0CC7-415C-8DE4-60B651D88368}" dt="2021-12-03T21:44:59.799" v="54" actId="790"/>
          <ac:spMkLst>
            <pc:docMk/>
            <pc:sldMk cId="3481125458" sldId="2146847680"/>
            <ac:spMk id="31" creationId="{A1AD8ACF-2AE8-4182-A9F3-51BEE2BBFF17}"/>
          </ac:spMkLst>
        </pc:spChg>
        <pc:spChg chg="mod">
          <ac:chgData name="Anthony,Krysta" userId="9244f7b8-c8dd-42c9-82f4-0cc36500d639" providerId="ADAL" clId="{1849F4E2-0CC7-415C-8DE4-60B651D88368}" dt="2021-12-03T21:44:59.800" v="55" actId="790"/>
          <ac:spMkLst>
            <pc:docMk/>
            <pc:sldMk cId="3481125458" sldId="2146847680"/>
            <ac:spMk id="32" creationId="{56246F7F-1976-42F2-A24F-A933371549BA}"/>
          </ac:spMkLst>
        </pc:spChg>
        <pc:spChg chg="mod">
          <ac:chgData name="Anthony,Krysta" userId="9244f7b8-c8dd-42c9-82f4-0cc36500d639" providerId="ADAL" clId="{1849F4E2-0CC7-415C-8DE4-60B651D88368}" dt="2021-12-03T21:44:59.801" v="56" actId="790"/>
          <ac:spMkLst>
            <pc:docMk/>
            <pc:sldMk cId="3481125458" sldId="2146847680"/>
            <ac:spMk id="33" creationId="{24D85FF9-BAAF-45C0-A6CC-E1AA1E4D7315}"/>
          </ac:spMkLst>
        </pc:spChg>
        <pc:spChg chg="mod">
          <ac:chgData name="Anthony,Krysta" userId="9244f7b8-c8dd-42c9-82f4-0cc36500d639" providerId="ADAL" clId="{1849F4E2-0CC7-415C-8DE4-60B651D88368}" dt="2021-12-03T21:44:59.802" v="57" actId="790"/>
          <ac:spMkLst>
            <pc:docMk/>
            <pc:sldMk cId="3481125458" sldId="2146847680"/>
            <ac:spMk id="34" creationId="{ECD59FFD-7DC1-4BA1-B2F3-B61CA6FE2652}"/>
          </ac:spMkLst>
        </pc:spChg>
        <pc:spChg chg="mod">
          <ac:chgData name="Anthony,Krysta" userId="9244f7b8-c8dd-42c9-82f4-0cc36500d639" providerId="ADAL" clId="{1849F4E2-0CC7-415C-8DE4-60B651D88368}" dt="2021-12-03T21:44:59.803" v="58" actId="790"/>
          <ac:spMkLst>
            <pc:docMk/>
            <pc:sldMk cId="3481125458" sldId="2146847680"/>
            <ac:spMk id="35" creationId="{BF38C885-021C-46E2-A02A-D92BD3DF3395}"/>
          </ac:spMkLst>
        </pc:spChg>
        <pc:spChg chg="mod">
          <ac:chgData name="Anthony,Krysta" userId="9244f7b8-c8dd-42c9-82f4-0cc36500d639" providerId="ADAL" clId="{1849F4E2-0CC7-415C-8DE4-60B651D88368}" dt="2021-12-03T21:44:59.804" v="59" actId="790"/>
          <ac:spMkLst>
            <pc:docMk/>
            <pc:sldMk cId="3481125458" sldId="2146847680"/>
            <ac:spMk id="36" creationId="{F75BE55B-48BC-49B2-8EE0-F20CC9E565CE}"/>
          </ac:spMkLst>
        </pc:spChg>
        <pc:spChg chg="mod">
          <ac:chgData name="Anthony,Krysta" userId="9244f7b8-c8dd-42c9-82f4-0cc36500d639" providerId="ADAL" clId="{1849F4E2-0CC7-415C-8DE4-60B651D88368}" dt="2021-12-03T21:44:59.805" v="60" actId="790"/>
          <ac:spMkLst>
            <pc:docMk/>
            <pc:sldMk cId="3481125458" sldId="2146847680"/>
            <ac:spMk id="37" creationId="{9156FD27-4B33-477B-A576-D01A567766D5}"/>
          </ac:spMkLst>
        </pc:spChg>
        <pc:spChg chg="mod">
          <ac:chgData name="Anthony,Krysta" userId="9244f7b8-c8dd-42c9-82f4-0cc36500d639" providerId="ADAL" clId="{1849F4E2-0CC7-415C-8DE4-60B651D88368}" dt="2021-12-03T21:44:59.807" v="61" actId="790"/>
          <ac:spMkLst>
            <pc:docMk/>
            <pc:sldMk cId="3481125458" sldId="2146847680"/>
            <ac:spMk id="38" creationId="{6831986D-9008-4C30-926E-0EB304305E57}"/>
          </ac:spMkLst>
        </pc:spChg>
        <pc:spChg chg="mod">
          <ac:chgData name="Anthony,Krysta" userId="9244f7b8-c8dd-42c9-82f4-0cc36500d639" providerId="ADAL" clId="{1849F4E2-0CC7-415C-8DE4-60B651D88368}" dt="2021-12-03T21:44:59.807" v="62" actId="790"/>
          <ac:spMkLst>
            <pc:docMk/>
            <pc:sldMk cId="3481125458" sldId="2146847680"/>
            <ac:spMk id="39" creationId="{2F0D6885-2EBB-417D-8784-98820DA4AB93}"/>
          </ac:spMkLst>
        </pc:spChg>
        <pc:spChg chg="mod">
          <ac:chgData name="Anthony,Krysta" userId="9244f7b8-c8dd-42c9-82f4-0cc36500d639" providerId="ADAL" clId="{1849F4E2-0CC7-415C-8DE4-60B651D88368}" dt="2021-12-03T21:44:59.809" v="63" actId="790"/>
          <ac:spMkLst>
            <pc:docMk/>
            <pc:sldMk cId="3481125458" sldId="2146847680"/>
            <ac:spMk id="40" creationId="{7A407BE8-6E33-455D-A3EF-62105F2B939A}"/>
          </ac:spMkLst>
        </pc:spChg>
        <pc:spChg chg="mod">
          <ac:chgData name="Anthony,Krysta" userId="9244f7b8-c8dd-42c9-82f4-0cc36500d639" providerId="ADAL" clId="{1849F4E2-0CC7-415C-8DE4-60B651D88368}" dt="2021-12-03T21:44:59.810" v="64" actId="790"/>
          <ac:spMkLst>
            <pc:docMk/>
            <pc:sldMk cId="3481125458" sldId="2146847680"/>
            <ac:spMk id="41" creationId="{4E1B811B-5A20-4C94-BB77-81AC73C98B07}"/>
          </ac:spMkLst>
        </pc:spChg>
        <pc:spChg chg="mod">
          <ac:chgData name="Anthony,Krysta" userId="9244f7b8-c8dd-42c9-82f4-0cc36500d639" providerId="ADAL" clId="{1849F4E2-0CC7-415C-8DE4-60B651D88368}" dt="2021-12-03T21:44:59.811" v="65" actId="790"/>
          <ac:spMkLst>
            <pc:docMk/>
            <pc:sldMk cId="3481125458" sldId="2146847680"/>
            <ac:spMk id="42" creationId="{87294F4E-0C79-49C7-956B-B8B219683964}"/>
          </ac:spMkLst>
        </pc:spChg>
        <pc:spChg chg="mod">
          <ac:chgData name="Anthony,Krysta" userId="9244f7b8-c8dd-42c9-82f4-0cc36500d639" providerId="ADAL" clId="{1849F4E2-0CC7-415C-8DE4-60B651D88368}" dt="2021-12-03T21:44:59.819" v="74" actId="790"/>
          <ac:spMkLst>
            <pc:docMk/>
            <pc:sldMk cId="3481125458" sldId="2146847680"/>
            <ac:spMk id="43" creationId="{C1C3A8C7-36D0-4B56-849E-1D87F6F64CE9}"/>
          </ac:spMkLst>
        </pc:spChg>
      </pc:sldChg>
      <pc:sldChg chg="modSp mod modNotes">
        <pc:chgData name="Anthony,Krysta" userId="9244f7b8-c8dd-42c9-82f4-0cc36500d639" providerId="ADAL" clId="{1849F4E2-0CC7-415C-8DE4-60B651D88368}" dt="2021-12-03T21:47:29.063" v="125" actId="20577"/>
        <pc:sldMkLst>
          <pc:docMk/>
          <pc:sldMk cId="3158526561" sldId="2146847681"/>
        </pc:sldMkLst>
        <pc:spChg chg="mod">
          <ac:chgData name="Anthony,Krysta" userId="9244f7b8-c8dd-42c9-82f4-0cc36500d639" providerId="ADAL" clId="{1849F4E2-0CC7-415C-8DE4-60B651D88368}" dt="2021-12-03T21:44:59.822" v="76" actId="790"/>
          <ac:spMkLst>
            <pc:docMk/>
            <pc:sldMk cId="3158526561" sldId="2146847681"/>
            <ac:spMk id="2" creationId="{A0BF0439-4F6C-4F92-B93A-5A5E46434B53}"/>
          </ac:spMkLst>
        </pc:spChg>
        <pc:spChg chg="mod">
          <ac:chgData name="Anthony,Krysta" userId="9244f7b8-c8dd-42c9-82f4-0cc36500d639" providerId="ADAL" clId="{1849F4E2-0CC7-415C-8DE4-60B651D88368}" dt="2021-12-03T21:44:59.823" v="77" actId="790"/>
          <ac:spMkLst>
            <pc:docMk/>
            <pc:sldMk cId="3158526561" sldId="2146847681"/>
            <ac:spMk id="3" creationId="{FB151C8F-1B5D-49D4-8B21-683FD3D38D31}"/>
          </ac:spMkLst>
        </pc:spChg>
        <pc:spChg chg="mod">
          <ac:chgData name="Anthony,Krysta" userId="9244f7b8-c8dd-42c9-82f4-0cc36500d639" providerId="ADAL" clId="{1849F4E2-0CC7-415C-8DE4-60B651D88368}" dt="2021-12-03T21:44:59.824" v="78" actId="790"/>
          <ac:spMkLst>
            <pc:docMk/>
            <pc:sldMk cId="3158526561" sldId="2146847681"/>
            <ac:spMk id="4" creationId="{454D48C1-C49C-429E-BBD2-227D0ABE3BAB}"/>
          </ac:spMkLst>
        </pc:spChg>
        <pc:spChg chg="mod">
          <ac:chgData name="Anthony,Krysta" userId="9244f7b8-c8dd-42c9-82f4-0cc36500d639" providerId="ADAL" clId="{1849F4E2-0CC7-415C-8DE4-60B651D88368}" dt="2021-12-03T21:44:59.825" v="79" actId="790"/>
          <ac:spMkLst>
            <pc:docMk/>
            <pc:sldMk cId="3158526561" sldId="2146847681"/>
            <ac:spMk id="5" creationId="{1BEE4C62-7DA9-4304-93B8-81D66831A8A6}"/>
          </ac:spMkLst>
        </pc:spChg>
        <pc:spChg chg="mod">
          <ac:chgData name="Anthony,Krysta" userId="9244f7b8-c8dd-42c9-82f4-0cc36500d639" providerId="ADAL" clId="{1849F4E2-0CC7-415C-8DE4-60B651D88368}" dt="2021-12-03T21:44:59.826" v="80" actId="790"/>
          <ac:spMkLst>
            <pc:docMk/>
            <pc:sldMk cId="3158526561" sldId="2146847681"/>
            <ac:spMk id="9" creationId="{4F58E67B-C21C-4024-826C-356B1EE70E30}"/>
          </ac:spMkLst>
        </pc:spChg>
        <pc:spChg chg="mod">
          <ac:chgData name="Anthony,Krysta" userId="9244f7b8-c8dd-42c9-82f4-0cc36500d639" providerId="ADAL" clId="{1849F4E2-0CC7-415C-8DE4-60B651D88368}" dt="2021-12-03T21:47:29.063" v="125" actId="20577"/>
          <ac:spMkLst>
            <pc:docMk/>
            <pc:sldMk cId="3158526561" sldId="2146847681"/>
            <ac:spMk id="11" creationId="{46025786-13F6-432F-8EE9-5AD1CCC24D84}"/>
          </ac:spMkLst>
        </pc:spChg>
        <pc:spChg chg="mod">
          <ac:chgData name="Anthony,Krysta" userId="9244f7b8-c8dd-42c9-82f4-0cc36500d639" providerId="ADAL" clId="{1849F4E2-0CC7-415C-8DE4-60B651D88368}" dt="2021-12-03T21:44:59.827" v="82" actId="790"/>
          <ac:spMkLst>
            <pc:docMk/>
            <pc:sldMk cId="3158526561" sldId="2146847681"/>
            <ac:spMk id="13" creationId="{CABC9476-A866-4BFD-AEDF-C1AC35A6DB84}"/>
          </ac:spMkLst>
        </pc:spChg>
        <pc:spChg chg="mod">
          <ac:chgData name="Anthony,Krysta" userId="9244f7b8-c8dd-42c9-82f4-0cc36500d639" providerId="ADAL" clId="{1849F4E2-0CC7-415C-8DE4-60B651D88368}" dt="2021-12-03T21:44:59.828" v="83" actId="790"/>
          <ac:spMkLst>
            <pc:docMk/>
            <pc:sldMk cId="3158526561" sldId="2146847681"/>
            <ac:spMk id="15" creationId="{11EEC16D-2BE7-4B81-864E-FE8DC21F806C}"/>
          </ac:spMkLst>
        </pc:spChg>
        <pc:spChg chg="mod">
          <ac:chgData name="Anthony,Krysta" userId="9244f7b8-c8dd-42c9-82f4-0cc36500d639" providerId="ADAL" clId="{1849F4E2-0CC7-415C-8DE4-60B651D88368}" dt="2021-12-03T21:44:59.829" v="84" actId="790"/>
          <ac:spMkLst>
            <pc:docMk/>
            <pc:sldMk cId="3158526561" sldId="2146847681"/>
            <ac:spMk id="17" creationId="{BA46407D-F8FD-483C-9898-CC407E3B2367}"/>
          </ac:spMkLst>
        </pc:spChg>
        <pc:spChg chg="mod">
          <ac:chgData name="Anthony,Krysta" userId="9244f7b8-c8dd-42c9-82f4-0cc36500d639" providerId="ADAL" clId="{1849F4E2-0CC7-415C-8DE4-60B651D88368}" dt="2021-12-03T21:44:59.830" v="85" actId="790"/>
          <ac:spMkLst>
            <pc:docMk/>
            <pc:sldMk cId="3158526561" sldId="2146847681"/>
            <ac:spMk id="19" creationId="{357F4F15-4100-421D-838D-AE7A7E1E08FC}"/>
          </ac:spMkLst>
        </pc:spChg>
        <pc:spChg chg="mod">
          <ac:chgData name="Anthony,Krysta" userId="9244f7b8-c8dd-42c9-82f4-0cc36500d639" providerId="ADAL" clId="{1849F4E2-0CC7-415C-8DE4-60B651D88368}" dt="2021-12-03T21:44:59.831" v="86" actId="790"/>
          <ac:spMkLst>
            <pc:docMk/>
            <pc:sldMk cId="3158526561" sldId="2146847681"/>
            <ac:spMk id="21" creationId="{9B120283-EF73-4CC8-BC4C-1154424F441E}"/>
          </ac:spMkLst>
        </pc:spChg>
        <pc:spChg chg="mod">
          <ac:chgData name="Anthony,Krysta" userId="9244f7b8-c8dd-42c9-82f4-0cc36500d639" providerId="ADAL" clId="{1849F4E2-0CC7-415C-8DE4-60B651D88368}" dt="2021-12-03T21:44:59.832" v="87" actId="790"/>
          <ac:spMkLst>
            <pc:docMk/>
            <pc:sldMk cId="3158526561" sldId="2146847681"/>
            <ac:spMk id="23" creationId="{3722B6AA-99BE-41FC-B787-1DDD56E85EBC}"/>
          </ac:spMkLst>
        </pc:spChg>
      </pc:sldChg>
      <pc:sldChg chg="delSp modSp mod modNotes">
        <pc:chgData name="Anthony,Krysta" userId="9244f7b8-c8dd-42c9-82f4-0cc36500d639" providerId="ADAL" clId="{1849F4E2-0CC7-415C-8DE4-60B651D88368}" dt="2021-12-03T21:44:59.853" v="110" actId="790"/>
        <pc:sldMkLst>
          <pc:docMk/>
          <pc:sldMk cId="1292170880" sldId="2146847682"/>
        </pc:sldMkLst>
        <pc:spChg chg="mod">
          <ac:chgData name="Anthony,Krysta" userId="9244f7b8-c8dd-42c9-82f4-0cc36500d639" providerId="ADAL" clId="{1849F4E2-0CC7-415C-8DE4-60B651D88368}" dt="2021-12-03T21:44:59.835" v="89" actId="790"/>
          <ac:spMkLst>
            <pc:docMk/>
            <pc:sldMk cId="1292170880" sldId="2146847682"/>
            <ac:spMk id="2" creationId="{6FC39EF3-7E98-4023-AF95-09EDD4695353}"/>
          </ac:spMkLst>
        </pc:spChg>
        <pc:spChg chg="mod">
          <ac:chgData name="Anthony,Krysta" userId="9244f7b8-c8dd-42c9-82f4-0cc36500d639" providerId="ADAL" clId="{1849F4E2-0CC7-415C-8DE4-60B651D88368}" dt="2021-12-03T21:44:59.835" v="90" actId="790"/>
          <ac:spMkLst>
            <pc:docMk/>
            <pc:sldMk cId="1292170880" sldId="2146847682"/>
            <ac:spMk id="3" creationId="{D03582D9-7010-4221-9CC8-22657D986C50}"/>
          </ac:spMkLst>
        </pc:spChg>
        <pc:spChg chg="mod">
          <ac:chgData name="Anthony,Krysta" userId="9244f7b8-c8dd-42c9-82f4-0cc36500d639" providerId="ADAL" clId="{1849F4E2-0CC7-415C-8DE4-60B651D88368}" dt="2021-12-03T21:44:59.836" v="91" actId="790"/>
          <ac:spMkLst>
            <pc:docMk/>
            <pc:sldMk cId="1292170880" sldId="2146847682"/>
            <ac:spMk id="4" creationId="{C6C30810-394B-4C1E-B4F2-C4157FE6BE09}"/>
          </ac:spMkLst>
        </pc:spChg>
        <pc:spChg chg="mod">
          <ac:chgData name="Anthony,Krysta" userId="9244f7b8-c8dd-42c9-82f4-0cc36500d639" providerId="ADAL" clId="{1849F4E2-0CC7-415C-8DE4-60B651D88368}" dt="2021-12-03T21:44:59.837" v="92" actId="790"/>
          <ac:spMkLst>
            <pc:docMk/>
            <pc:sldMk cId="1292170880" sldId="2146847682"/>
            <ac:spMk id="5" creationId="{B06A868B-3B92-4A3C-843C-DF4315AF59A9}"/>
          </ac:spMkLst>
        </pc:spChg>
        <pc:spChg chg="mod">
          <ac:chgData name="Anthony,Krysta" userId="9244f7b8-c8dd-42c9-82f4-0cc36500d639" providerId="ADAL" clId="{1849F4E2-0CC7-415C-8DE4-60B651D88368}" dt="2021-12-03T21:44:59.840" v="95" actId="790"/>
          <ac:spMkLst>
            <pc:docMk/>
            <pc:sldMk cId="1292170880" sldId="2146847682"/>
            <ac:spMk id="7" creationId="{3DED64A2-40E5-4BCF-A218-556D1C783385}"/>
          </ac:spMkLst>
        </pc:spChg>
        <pc:spChg chg="mod">
          <ac:chgData name="Anthony,Krysta" userId="9244f7b8-c8dd-42c9-82f4-0cc36500d639" providerId="ADAL" clId="{1849F4E2-0CC7-415C-8DE4-60B651D88368}" dt="2021-12-03T21:44:59.842" v="98" actId="790"/>
          <ac:spMkLst>
            <pc:docMk/>
            <pc:sldMk cId="1292170880" sldId="2146847682"/>
            <ac:spMk id="8" creationId="{325146A1-D1BF-4CEC-AAC8-0B3DFA8EA5DF}"/>
          </ac:spMkLst>
        </pc:spChg>
        <pc:spChg chg="mod">
          <ac:chgData name="Anthony,Krysta" userId="9244f7b8-c8dd-42c9-82f4-0cc36500d639" providerId="ADAL" clId="{1849F4E2-0CC7-415C-8DE4-60B651D88368}" dt="2021-12-03T21:44:59.846" v="103" actId="790"/>
          <ac:spMkLst>
            <pc:docMk/>
            <pc:sldMk cId="1292170880" sldId="2146847682"/>
            <ac:spMk id="9" creationId="{92673752-9392-4A97-AC3C-512A99FD6647}"/>
          </ac:spMkLst>
        </pc:spChg>
        <pc:spChg chg="mod">
          <ac:chgData name="Anthony,Krysta" userId="9244f7b8-c8dd-42c9-82f4-0cc36500d639" providerId="ADAL" clId="{1849F4E2-0CC7-415C-8DE4-60B651D88368}" dt="2021-12-03T21:44:59.847" v="104" actId="790"/>
          <ac:spMkLst>
            <pc:docMk/>
            <pc:sldMk cId="1292170880" sldId="2146847682"/>
            <ac:spMk id="12" creationId="{10EA4B48-9B67-4C59-83D4-26A9621D789C}"/>
          </ac:spMkLst>
        </pc:spChg>
        <pc:spChg chg="del">
          <ac:chgData name="Anthony,Krysta" userId="9244f7b8-c8dd-42c9-82f4-0cc36500d639" providerId="ADAL" clId="{1849F4E2-0CC7-415C-8DE4-60B651D88368}" dt="2021-12-03T21:43:42.835" v="0" actId="478"/>
          <ac:spMkLst>
            <pc:docMk/>
            <pc:sldMk cId="1292170880" sldId="2146847682"/>
            <ac:spMk id="13" creationId="{FFEE94AD-1C52-498A-B9A2-05717B2A5680}"/>
          </ac:spMkLst>
        </pc:spChg>
        <pc:spChg chg="mod">
          <ac:chgData name="Anthony,Krysta" userId="9244f7b8-c8dd-42c9-82f4-0cc36500d639" providerId="ADAL" clId="{1849F4E2-0CC7-415C-8DE4-60B651D88368}" dt="2021-12-03T21:44:59.847" v="105" actId="790"/>
          <ac:spMkLst>
            <pc:docMk/>
            <pc:sldMk cId="1292170880" sldId="2146847682"/>
            <ac:spMk id="15" creationId="{72425727-0296-4A64-8E35-0C36105FB221}"/>
          </ac:spMkLst>
        </pc:spChg>
        <pc:spChg chg="mod">
          <ac:chgData name="Anthony,Krysta" userId="9244f7b8-c8dd-42c9-82f4-0cc36500d639" providerId="ADAL" clId="{1849F4E2-0CC7-415C-8DE4-60B651D88368}" dt="2021-12-03T21:44:59.849" v="107" actId="790"/>
          <ac:spMkLst>
            <pc:docMk/>
            <pc:sldMk cId="1292170880" sldId="2146847682"/>
            <ac:spMk id="16" creationId="{94F685E5-CFE0-45A9-B521-19E67785DEB3}"/>
          </ac:spMkLst>
        </pc:spChg>
        <pc:spChg chg="mod">
          <ac:chgData name="Anthony,Krysta" userId="9244f7b8-c8dd-42c9-82f4-0cc36500d639" providerId="ADAL" clId="{1849F4E2-0CC7-415C-8DE4-60B651D88368}" dt="2021-12-03T21:44:59.850" v="108" actId="790"/>
          <ac:spMkLst>
            <pc:docMk/>
            <pc:sldMk cId="1292170880" sldId="2146847682"/>
            <ac:spMk id="22" creationId="{FD24D52A-5F1B-41EC-8C00-5EC37A693838}"/>
          </ac:spMkLst>
        </pc:spChg>
        <pc:spChg chg="mod">
          <ac:chgData name="Anthony,Krysta" userId="9244f7b8-c8dd-42c9-82f4-0cc36500d639" providerId="ADAL" clId="{1849F4E2-0CC7-415C-8DE4-60B651D88368}" dt="2021-12-03T21:44:59.851" v="109" actId="790"/>
          <ac:spMkLst>
            <pc:docMk/>
            <pc:sldMk cId="1292170880" sldId="2146847682"/>
            <ac:spMk id="24" creationId="{8F4A4489-1945-4A25-AE3D-022756567DE1}"/>
          </ac:spMkLst>
        </pc:spChg>
        <pc:spChg chg="del">
          <ac:chgData name="Anthony,Krysta" userId="9244f7b8-c8dd-42c9-82f4-0cc36500d639" providerId="ADAL" clId="{1849F4E2-0CC7-415C-8DE4-60B651D88368}" dt="2021-12-03T21:43:42.835" v="0" actId="478"/>
          <ac:spMkLst>
            <pc:docMk/>
            <pc:sldMk cId="1292170880" sldId="2146847682"/>
            <ac:spMk id="25" creationId="{6AF35A35-6E79-41BD-82F9-97B8B3943AFE}"/>
          </ac:spMkLst>
        </pc:sp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6" creationId="{C0281C63-4F32-4AC8-AE2B-9707B6A48B6B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0" creationId="{B27D5254-CF88-4452-A32A-10D8A6575A1F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1" creationId="{2AAA34DB-B40A-4FD6-AC04-78F60A08A3A9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4" creationId="{51CC341B-41B7-44D9-8AE4-4B852AD7B86E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7" creationId="{FD60898F-E22C-4DCE-8C12-BD6DD4B5322F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8" creationId="{2B34A281-B4B0-442D-8CA4-0E066FE032B4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19" creationId="{84AC4B33-D1FC-4C41-8853-9489CE39BDD3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0" creationId="{DA74A802-5872-448E-A72C-72B5A0272D2B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1" creationId="{C744A28C-F529-4750-ACA1-E5A334553520}"/>
          </ac:cxnSpMkLst>
        </pc:cxnChg>
        <pc:cxnChg chg="mod">
          <ac:chgData name="Anthony,Krysta" userId="9244f7b8-c8dd-42c9-82f4-0cc36500d639" providerId="ADAL" clId="{1849F4E2-0CC7-415C-8DE4-60B651D88368}" dt="2021-12-03T21:43:48.612" v="21" actId="1035"/>
          <ac:cxnSpMkLst>
            <pc:docMk/>
            <pc:sldMk cId="1292170880" sldId="2146847682"/>
            <ac:cxnSpMk id="23" creationId="{098CC335-4CAB-49A8-BBCA-E54646519465}"/>
          </ac:cxnSpMkLst>
        </pc:cxnChg>
      </pc:sldChg>
      <pc:sldChg chg="modSp mod modNotes">
        <pc:chgData name="Anthony,Krysta" userId="9244f7b8-c8dd-42c9-82f4-0cc36500d639" providerId="ADAL" clId="{1849F4E2-0CC7-415C-8DE4-60B651D88368}" dt="2021-12-03T21:48:25.348" v="136" actId="20577"/>
        <pc:sldMkLst>
          <pc:docMk/>
          <pc:sldMk cId="2466140407" sldId="2146847683"/>
        </pc:sldMkLst>
        <pc:spChg chg="mod">
          <ac:chgData name="Anthony,Krysta" userId="9244f7b8-c8dd-42c9-82f4-0cc36500d639" providerId="ADAL" clId="{1849F4E2-0CC7-415C-8DE4-60B651D88368}" dt="2021-12-03T21:44:59.854" v="111" actId="790"/>
          <ac:spMkLst>
            <pc:docMk/>
            <pc:sldMk cId="2466140407" sldId="2146847683"/>
            <ac:spMk id="2" creationId="{F7A14744-33D2-44E2-9BBE-D01DAA1EB8B3}"/>
          </ac:spMkLst>
        </pc:spChg>
        <pc:spChg chg="mod">
          <ac:chgData name="Anthony,Krysta" userId="9244f7b8-c8dd-42c9-82f4-0cc36500d639" providerId="ADAL" clId="{1849F4E2-0CC7-415C-8DE4-60B651D88368}" dt="2021-12-03T21:44:59.855" v="112" actId="790"/>
          <ac:spMkLst>
            <pc:docMk/>
            <pc:sldMk cId="2466140407" sldId="2146847683"/>
            <ac:spMk id="3" creationId="{2208F575-E75F-4B10-A7C9-13F03595BB8B}"/>
          </ac:spMkLst>
        </pc:spChg>
        <pc:spChg chg="mod">
          <ac:chgData name="Anthony,Krysta" userId="9244f7b8-c8dd-42c9-82f4-0cc36500d639" providerId="ADAL" clId="{1849F4E2-0CC7-415C-8DE4-60B651D88368}" dt="2021-12-03T21:44:59.856" v="113" actId="790"/>
          <ac:spMkLst>
            <pc:docMk/>
            <pc:sldMk cId="2466140407" sldId="2146847683"/>
            <ac:spMk id="4" creationId="{F66F164F-0D98-4CC2-A713-3D2F873A52AD}"/>
          </ac:spMkLst>
        </pc:spChg>
        <pc:spChg chg="mod">
          <ac:chgData name="Anthony,Krysta" userId="9244f7b8-c8dd-42c9-82f4-0cc36500d639" providerId="ADAL" clId="{1849F4E2-0CC7-415C-8DE4-60B651D88368}" dt="2021-12-03T21:44:59.857" v="114" actId="790"/>
          <ac:spMkLst>
            <pc:docMk/>
            <pc:sldMk cId="2466140407" sldId="2146847683"/>
            <ac:spMk id="5" creationId="{183B838E-D52A-4FF2-8CBC-890B436E9FFB}"/>
          </ac:spMkLst>
        </pc:spChg>
        <pc:spChg chg="mod">
          <ac:chgData name="Anthony,Krysta" userId="9244f7b8-c8dd-42c9-82f4-0cc36500d639" providerId="ADAL" clId="{1849F4E2-0CC7-415C-8DE4-60B651D88368}" dt="2021-12-03T21:48:06.156" v="127" actId="207"/>
          <ac:spMkLst>
            <pc:docMk/>
            <pc:sldMk cId="2466140407" sldId="2146847683"/>
            <ac:spMk id="15" creationId="{57A43774-1610-4D53-949D-9640F38FD558}"/>
          </ac:spMkLst>
        </pc:spChg>
        <pc:spChg chg="mod">
          <ac:chgData name="Anthony,Krysta" userId="9244f7b8-c8dd-42c9-82f4-0cc36500d639" providerId="ADAL" clId="{1849F4E2-0CC7-415C-8DE4-60B651D88368}" dt="2021-12-03T21:48:25.348" v="136" actId="20577"/>
          <ac:spMkLst>
            <pc:docMk/>
            <pc:sldMk cId="2466140407" sldId="2146847683"/>
            <ac:spMk id="16" creationId="{F6DC2B38-A22C-4731-AC28-AE7F0C8503A1}"/>
          </ac:spMkLst>
        </pc:spChg>
        <pc:spChg chg="mod">
          <ac:chgData name="Anthony,Krysta" userId="9244f7b8-c8dd-42c9-82f4-0cc36500d639" providerId="ADAL" clId="{1849F4E2-0CC7-415C-8DE4-60B651D88368}" dt="2021-12-03T21:48:10.902" v="128" actId="108"/>
          <ac:spMkLst>
            <pc:docMk/>
            <pc:sldMk cId="2466140407" sldId="2146847683"/>
            <ac:spMk id="24" creationId="{B621E4CB-4A4F-46B3-8E4A-821634C8A1AA}"/>
          </ac:spMkLst>
        </pc:spChg>
        <pc:spChg chg="mod">
          <ac:chgData name="Anthony,Krysta" userId="9244f7b8-c8dd-42c9-82f4-0cc36500d639" providerId="ADAL" clId="{1849F4E2-0CC7-415C-8DE4-60B651D88368}" dt="2021-12-03T21:48:14.867" v="130" actId="108"/>
          <ac:spMkLst>
            <pc:docMk/>
            <pc:sldMk cId="2466140407" sldId="2146847683"/>
            <ac:spMk id="25" creationId="{E9E5FCC4-F7F9-4294-8D99-F84744DA75DB}"/>
          </ac:spMkLst>
        </pc:spChg>
      </pc:sldChg>
    </pc:docChg>
  </pc:docChgLst>
  <pc:docChgLst>
    <pc:chgData name="Rudzinski,Jessica" userId="e16d457e-39c9-416c-9d29-3f5083b98661" providerId="ADAL" clId="{8F332262-5916-4BB8-825A-2F5C18CCA21D}"/>
    <pc:docChg chg="custSel modSld">
      <pc:chgData name="Rudzinski,Jessica" userId="e16d457e-39c9-416c-9d29-3f5083b98661" providerId="ADAL" clId="{8F332262-5916-4BB8-825A-2F5C18CCA21D}" dt="2021-11-19T20:16:16.382" v="11" actId="1076"/>
      <pc:docMkLst>
        <pc:docMk/>
      </pc:docMkLst>
      <pc:sldChg chg="addSp delSp modSp mod">
        <pc:chgData name="Rudzinski,Jessica" userId="e16d457e-39c9-416c-9d29-3f5083b98661" providerId="ADAL" clId="{8F332262-5916-4BB8-825A-2F5C18CCA21D}" dt="2021-11-19T20:16:16.382" v="11" actId="1076"/>
        <pc:sldMkLst>
          <pc:docMk/>
          <pc:sldMk cId="4177386976" sldId="2146847674"/>
        </pc:sldMkLst>
        <pc:spChg chg="del">
          <ac:chgData name="Rudzinski,Jessica" userId="e16d457e-39c9-416c-9d29-3f5083b98661" providerId="ADAL" clId="{8F332262-5916-4BB8-825A-2F5C18CCA21D}" dt="2021-11-19T20:15:33.751" v="0" actId="478"/>
          <ac:spMkLst>
            <pc:docMk/>
            <pc:sldMk cId="4177386976" sldId="2146847674"/>
            <ac:spMk id="6" creationId="{A74FEBD3-BBD7-4C04-A76F-BC2D57FD2322}"/>
          </ac:spMkLst>
        </pc:spChg>
        <pc:spChg chg="mod">
          <ac:chgData name="Rudzinski,Jessica" userId="e16d457e-39c9-416c-9d29-3f5083b98661" providerId="ADAL" clId="{8F332262-5916-4BB8-825A-2F5C18CCA21D}" dt="2021-11-19T20:16:16.382" v="11" actId="1076"/>
          <ac:spMkLst>
            <pc:docMk/>
            <pc:sldMk cId="4177386976" sldId="2146847674"/>
            <ac:spMk id="8" creationId="{0535F116-B2AB-4DEB-91EB-B45CAC647D29}"/>
          </ac:spMkLst>
        </pc:spChg>
        <pc:spChg chg="add del mod">
          <ac:chgData name="Rudzinski,Jessica" userId="e16d457e-39c9-416c-9d29-3f5083b98661" providerId="ADAL" clId="{8F332262-5916-4BB8-825A-2F5C18CCA21D}" dt="2021-11-19T20:15:36.080" v="3" actId="478"/>
          <ac:spMkLst>
            <pc:docMk/>
            <pc:sldMk cId="4177386976" sldId="2146847674"/>
            <ac:spMk id="9" creationId="{6FB3B4D1-35E6-4E10-BFF2-4F8F5233B6FB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1" creationId="{5B2E82E4-E92B-4BC6-87A9-3C9EB00C203B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2" creationId="{63D1406C-CA7D-41ED-A585-1C6CDE16E2B1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3" creationId="{FB229714-83B3-4941-A78C-63EE5B38FC96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5" creationId="{787049B4-4226-4DED-872A-BEDAC7EFE93D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7" creationId="{B5D46854-2084-46A0-8756-4460959DDA23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8" creationId="{D4166319-F8A5-461B-B83A-38C443970469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19" creationId="{E1F25110-29AA-4CC5-9799-1D7C2432BBFF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0" creationId="{53EF416F-15A0-4F32-9C1F-93FF12EFC132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1" creationId="{239438ED-60C5-4E72-9504-3B9359FA5DB9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5" creationId="{7C5B9914-BD95-4919-8948-41BA7A2A69F1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6" creationId="{78F96275-AF60-4519-A783-B914503BA078}"/>
          </ac:spMkLst>
        </pc:spChg>
        <pc:spChg chg="mod">
          <ac:chgData name="Rudzinski,Jessica" userId="e16d457e-39c9-416c-9d29-3f5083b98661" providerId="ADAL" clId="{8F332262-5916-4BB8-825A-2F5C18CCA21D}" dt="2021-11-19T20:15:34.127" v="1"/>
          <ac:spMkLst>
            <pc:docMk/>
            <pc:sldMk cId="4177386976" sldId="2146847674"/>
            <ac:spMk id="27" creationId="{9C0D0978-6ED4-47C9-A7E3-2FF7991C542F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29" creationId="{C613B215-AB82-4073-AE8A-7B35A08B232B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0" creationId="{E9D572A6-E885-4EE4-946A-38574A37E824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1" creationId="{829D555A-0E2F-46DD-A6AE-073D61F802DF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3" creationId="{1BCB79F1-4C94-4DAA-A785-C7274497DF49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5" creationId="{7C94966D-2D60-4422-94E3-BFC6DC8117AB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6" creationId="{E024805D-C8A2-49AB-BA79-57A829A5B576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7" creationId="{AC0BC9FE-C0A8-4C89-A3B6-A6DFFC3D19C8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8" creationId="{90FEE8DB-5B69-4DEC-9874-E62DD0E3C05A}"/>
          </ac:spMkLst>
        </pc:spChg>
        <pc:spChg chg="mod">
          <ac:chgData name="Rudzinski,Jessica" userId="e16d457e-39c9-416c-9d29-3f5083b98661" providerId="ADAL" clId="{8F332262-5916-4BB8-825A-2F5C18CCA21D}" dt="2021-11-19T20:15:36.403" v="4"/>
          <ac:spMkLst>
            <pc:docMk/>
            <pc:sldMk cId="4177386976" sldId="2146847674"/>
            <ac:spMk id="39" creationId="{AC73599C-91BF-4A2D-A19F-FF755BAF372F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3" creationId="{DCDDFBA6-39D4-4547-9E41-B7152C2D4EE0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4" creationId="{2FB3C844-D7C0-49A1-AC7A-D109A89DF561}"/>
          </ac:spMkLst>
        </pc:spChg>
        <pc:spChg chg="mod">
          <ac:chgData name="Rudzinski,Jessica" userId="e16d457e-39c9-416c-9d29-3f5083b98661" providerId="ADAL" clId="{8F332262-5916-4BB8-825A-2F5C18CCA21D}" dt="2021-11-19T20:16:09.540" v="10" actId="403"/>
          <ac:spMkLst>
            <pc:docMk/>
            <pc:sldMk cId="4177386976" sldId="2146847674"/>
            <ac:spMk id="45" creationId="{B6DBAC68-A6A6-45CE-A856-C0E12AEC25F0}"/>
          </ac:spMkLst>
        </pc:spChg>
        <pc:spChg chg="add mod">
          <ac:chgData name="Rudzinski,Jessica" userId="e16d457e-39c9-416c-9d29-3f5083b98661" providerId="ADAL" clId="{8F332262-5916-4BB8-825A-2F5C18CCA21D}" dt="2021-11-19T20:15:46.230" v="5"/>
          <ac:spMkLst>
            <pc:docMk/>
            <pc:sldMk cId="4177386976" sldId="2146847674"/>
            <ac:spMk id="46" creationId="{8E274041-AE9E-47B1-AC2F-2F0505C7C5B4}"/>
          </ac:spMkLst>
        </pc:spChg>
        <pc:spChg chg="add mod">
          <ac:chgData name="Rudzinski,Jessica" userId="e16d457e-39c9-416c-9d29-3f5083b98661" providerId="ADAL" clId="{8F332262-5916-4BB8-825A-2F5C18CCA21D}" dt="2021-11-19T20:15:50.117" v="6"/>
          <ac:spMkLst>
            <pc:docMk/>
            <pc:sldMk cId="4177386976" sldId="2146847674"/>
            <ac:spMk id="47" creationId="{B9BA633A-5AA1-4B20-B292-A911EA8BD5C5}"/>
          </ac:spMkLst>
        </pc:spChg>
        <pc:spChg chg="add mod">
          <ac:chgData name="Rudzinski,Jessica" userId="e16d457e-39c9-416c-9d29-3f5083b98661" providerId="ADAL" clId="{8F332262-5916-4BB8-825A-2F5C18CCA21D}" dt="2021-11-19T20:15:54.272" v="7"/>
          <ac:spMkLst>
            <pc:docMk/>
            <pc:sldMk cId="4177386976" sldId="2146847674"/>
            <ac:spMk id="48" creationId="{8BA1EF83-21D2-442B-AFF9-B712FE93557C}"/>
          </ac:spMkLst>
        </pc:spChg>
        <pc:grpChg chg="add del mod">
          <ac:chgData name="Rudzinski,Jessica" userId="e16d457e-39c9-416c-9d29-3f5083b98661" providerId="ADAL" clId="{8F332262-5916-4BB8-825A-2F5C18CCA21D}" dt="2021-11-19T20:15:34.938" v="2"/>
          <ac:grpSpMkLst>
            <pc:docMk/>
            <pc:sldMk cId="4177386976" sldId="2146847674"/>
            <ac:grpSpMk id="10" creationId="{1ECAA409-5954-4066-B4C9-9F3700139F3C}"/>
          </ac:grpSpMkLst>
        </pc:grpChg>
        <pc:grpChg chg="add mod">
          <ac:chgData name="Rudzinski,Jessica" userId="e16d457e-39c9-416c-9d29-3f5083b98661" providerId="ADAL" clId="{8F332262-5916-4BB8-825A-2F5C18CCA21D}" dt="2021-11-19T20:15:36.403" v="4"/>
          <ac:grpSpMkLst>
            <pc:docMk/>
            <pc:sldMk cId="4177386976" sldId="2146847674"/>
            <ac:grpSpMk id="28" creationId="{10A25C0E-1FED-4D69-A98D-5D440FAFBCBC}"/>
          </ac:grpSpMkLst>
        </pc:grp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14" creationId="{62BBB47A-F8D8-46AD-9350-FC6FBF5EFB85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16" creationId="{02229064-010C-486D-98AD-7F12477D47B0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2" creationId="{35748C66-B011-47E3-AAB7-23E3EDE410FD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3" creationId="{8E9C5B1F-B828-46EA-B7D8-EE07F2F62CD3}"/>
          </ac:cxnSpMkLst>
        </pc:cxnChg>
        <pc:cxnChg chg="mod">
          <ac:chgData name="Rudzinski,Jessica" userId="e16d457e-39c9-416c-9d29-3f5083b98661" providerId="ADAL" clId="{8F332262-5916-4BB8-825A-2F5C18CCA21D}" dt="2021-11-19T20:15:34.127" v="1"/>
          <ac:cxnSpMkLst>
            <pc:docMk/>
            <pc:sldMk cId="4177386976" sldId="2146847674"/>
            <ac:cxnSpMk id="24" creationId="{B118269B-539E-4CEA-8BFD-6CAF560C5FC8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32" creationId="{42BEB45E-1EC6-4977-8312-E11166CB3811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34" creationId="{E0FCC24D-92A4-4D15-9650-ADA988BCD4D7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0" creationId="{452BA920-56FC-4025-A5A7-CDDDE12F6E67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1" creationId="{79ED2F64-99C6-4457-AB94-C26E6C5873A4}"/>
          </ac:cxnSpMkLst>
        </pc:cxnChg>
        <pc:cxnChg chg="mod">
          <ac:chgData name="Rudzinski,Jessica" userId="e16d457e-39c9-416c-9d29-3f5083b98661" providerId="ADAL" clId="{8F332262-5916-4BB8-825A-2F5C18CCA21D}" dt="2021-11-19T20:15:36.403" v="4"/>
          <ac:cxnSpMkLst>
            <pc:docMk/>
            <pc:sldMk cId="4177386976" sldId="2146847674"/>
            <ac:cxnSpMk id="42" creationId="{2D85B874-4173-479D-89A6-8A29BFB1B65E}"/>
          </ac:cxnSpMkLst>
        </pc:cxnChg>
      </pc:sldChg>
    </pc:docChg>
  </pc:docChgLst>
  <pc:docChgLst>
    <pc:chgData name="Krysta" userId="9244f7b8-c8dd-42c9-82f4-0cc36500d639" providerId="ADAL" clId="{C20A7EBD-05E7-4848-BF1E-FC9C636FD9C1}"/>
    <pc:docChg chg="addSld modSld">
      <pc:chgData name="Krysta" userId="9244f7b8-c8dd-42c9-82f4-0cc36500d639" providerId="ADAL" clId="{C20A7EBD-05E7-4848-BF1E-FC9C636FD9C1}" dt="2021-12-02T17:43:10.542" v="131" actId="207"/>
      <pc:docMkLst>
        <pc:docMk/>
      </pc:docMkLst>
      <pc:sldChg chg="modSp mod">
        <pc:chgData name="Krysta" userId="9244f7b8-c8dd-42c9-82f4-0cc36500d639" providerId="ADAL" clId="{C20A7EBD-05E7-4848-BF1E-FC9C636FD9C1}" dt="2021-12-02T17:40:51.950" v="5" actId="20577"/>
        <pc:sldMkLst>
          <pc:docMk/>
          <pc:sldMk cId="1922715581" sldId="2141411663"/>
        </pc:sldMkLst>
        <pc:spChg chg="mod">
          <ac:chgData name="Krysta" userId="9244f7b8-c8dd-42c9-82f4-0cc36500d639" providerId="ADAL" clId="{C20A7EBD-05E7-4848-BF1E-FC9C636FD9C1}" dt="2021-12-02T17:40:51.950" v="5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mod">
        <pc:chgData name="Krysta" userId="9244f7b8-c8dd-42c9-82f4-0cc36500d639" providerId="ADAL" clId="{C20A7EBD-05E7-4848-BF1E-FC9C636FD9C1}" dt="2021-12-02T17:41:11.690" v="36" actId="20577"/>
        <pc:sldMkLst>
          <pc:docMk/>
          <pc:sldMk cId="1181283028" sldId="2146847660"/>
        </pc:sldMkLst>
        <pc:spChg chg="mod">
          <ac:chgData name="Krysta" userId="9244f7b8-c8dd-42c9-82f4-0cc36500d639" providerId="ADAL" clId="{C20A7EBD-05E7-4848-BF1E-FC9C636FD9C1}" dt="2021-12-02T17:41:11.690" v="36" actId="20577"/>
          <ac:spMkLst>
            <pc:docMk/>
            <pc:sldMk cId="1181283028" sldId="2146847660"/>
            <ac:spMk id="25" creationId="{E6BE25FD-F227-4AAF-810A-1D68834A65A4}"/>
          </ac:spMkLst>
        </pc:spChg>
      </pc:sldChg>
      <pc:sldChg chg="modSp mod">
        <pc:chgData name="Krysta" userId="9244f7b8-c8dd-42c9-82f4-0cc36500d639" providerId="ADAL" clId="{C20A7EBD-05E7-4848-BF1E-FC9C636FD9C1}" dt="2021-12-02T17:43:10.542" v="131" actId="207"/>
        <pc:sldMkLst>
          <pc:docMk/>
          <pc:sldMk cId="1713831338" sldId="2146847673"/>
        </pc:sldMkLst>
        <pc:spChg chg="mod">
          <ac:chgData name="Krysta" userId="9244f7b8-c8dd-42c9-82f4-0cc36500d639" providerId="ADAL" clId="{C20A7EBD-05E7-4848-BF1E-FC9C636FD9C1}" dt="2021-12-02T17:43:08.075" v="130" actId="207"/>
          <ac:spMkLst>
            <pc:docMk/>
            <pc:sldMk cId="1713831338" sldId="2146847673"/>
            <ac:spMk id="196" creationId="{D80BAD37-2618-4E45-9826-B89ECAB8A269}"/>
          </ac:spMkLst>
        </pc:spChg>
        <pc:spChg chg="mod">
          <ac:chgData name="Krysta" userId="9244f7b8-c8dd-42c9-82f4-0cc36500d639" providerId="ADAL" clId="{C20A7EBD-05E7-4848-BF1E-FC9C636FD9C1}" dt="2021-12-02T17:43:10.542" v="131" actId="207"/>
          <ac:spMkLst>
            <pc:docMk/>
            <pc:sldMk cId="1713831338" sldId="2146847673"/>
            <ac:spMk id="197" creationId="{C4EE1FCE-8729-4198-9757-1101E905B31E}"/>
          </ac:spMkLst>
        </pc:spChg>
      </pc:sldChg>
      <pc:sldChg chg="addSp modSp mod">
        <pc:chgData name="Krysta" userId="9244f7b8-c8dd-42c9-82f4-0cc36500d639" providerId="ADAL" clId="{C20A7EBD-05E7-4848-BF1E-FC9C636FD9C1}" dt="2021-12-02T17:41:31.504" v="40" actId="20577"/>
        <pc:sldMkLst>
          <pc:docMk/>
          <pc:sldMk cId="3428675465" sldId="2146847677"/>
        </pc:sldMkLst>
        <pc:spChg chg="mod">
          <ac:chgData name="Krysta" userId="9244f7b8-c8dd-42c9-82f4-0cc36500d639" providerId="ADAL" clId="{C20A7EBD-05E7-4848-BF1E-FC9C636FD9C1}" dt="2021-12-02T17:41:31.504" v="40" actId="20577"/>
          <ac:spMkLst>
            <pc:docMk/>
            <pc:sldMk cId="3428675465" sldId="2146847677"/>
            <ac:spMk id="75" creationId="{451DC8D7-EE22-4214-9A62-9AB42BB24744}"/>
          </ac:spMkLst>
        </pc:spChg>
        <pc:spChg chg="add mod">
          <ac:chgData name="Krysta" userId="9244f7b8-c8dd-42c9-82f4-0cc36500d639" providerId="ADAL" clId="{C20A7EBD-05E7-4848-BF1E-FC9C636FD9C1}" dt="2021-12-02T17:41:27.294" v="38" actId="1076"/>
          <ac:spMkLst>
            <pc:docMk/>
            <pc:sldMk cId="3428675465" sldId="2146847677"/>
            <ac:spMk id="76" creationId="{BC647E1C-F110-4E0D-9E6F-E0EF3636D453}"/>
          </ac:spMkLst>
        </pc:spChg>
        <pc:spChg chg="add mod">
          <ac:chgData name="Krysta" userId="9244f7b8-c8dd-42c9-82f4-0cc36500d639" providerId="ADAL" clId="{C20A7EBD-05E7-4848-BF1E-FC9C636FD9C1}" dt="2021-12-02T17:41:29.127" v="39" actId="20577"/>
          <ac:spMkLst>
            <pc:docMk/>
            <pc:sldMk cId="3428675465" sldId="2146847677"/>
            <ac:spMk id="77" creationId="{84CD3465-AED6-497B-ADA5-8B06AC70AB6D}"/>
          </ac:spMkLst>
        </pc:spChg>
      </pc:sldChg>
      <pc:sldChg chg="modSp mod">
        <pc:chgData name="Krysta" userId="9244f7b8-c8dd-42c9-82f4-0cc36500d639" providerId="ADAL" clId="{C20A7EBD-05E7-4848-BF1E-FC9C636FD9C1}" dt="2021-12-02T17:42:25.254" v="42" actId="15"/>
        <pc:sldMkLst>
          <pc:docMk/>
          <pc:sldMk cId="936241907" sldId="2146847678"/>
        </pc:sldMkLst>
        <pc:spChg chg="mod">
          <ac:chgData name="Krysta" userId="9244f7b8-c8dd-42c9-82f4-0cc36500d639" providerId="ADAL" clId="{C20A7EBD-05E7-4848-BF1E-FC9C636FD9C1}" dt="2021-12-02T17:42:25.254" v="42" actId="15"/>
          <ac:spMkLst>
            <pc:docMk/>
            <pc:sldMk cId="936241907" sldId="2146847678"/>
            <ac:spMk id="7" creationId="{8CC6A955-DC75-4883-BD7A-4FF83101B888}"/>
          </ac:spMkLst>
        </pc:spChg>
      </pc:sldChg>
      <pc:sldChg chg="addSp modSp new mod">
        <pc:chgData name="Krysta" userId="9244f7b8-c8dd-42c9-82f4-0cc36500d639" providerId="ADAL" clId="{C20A7EBD-05E7-4848-BF1E-FC9C636FD9C1}" dt="2021-12-02T17:42:56.559" v="129" actId="20577"/>
        <pc:sldMkLst>
          <pc:docMk/>
          <pc:sldMk cId="248483385" sldId="2146847679"/>
        </pc:sldMkLst>
        <pc:spChg chg="mod">
          <ac:chgData name="Krysta" userId="9244f7b8-c8dd-42c9-82f4-0cc36500d639" providerId="ADAL" clId="{C20A7EBD-05E7-4848-BF1E-FC9C636FD9C1}" dt="2021-12-02T17:42:42.330" v="78" actId="20577"/>
          <ac:spMkLst>
            <pc:docMk/>
            <pc:sldMk cId="248483385" sldId="2146847679"/>
            <ac:spMk id="2" creationId="{A1A5A22C-9BB9-44E6-9E6F-AD0978412882}"/>
          </ac:spMkLst>
        </pc:spChg>
        <pc:spChg chg="add mod">
          <ac:chgData name="Krysta" userId="9244f7b8-c8dd-42c9-82f4-0cc36500d639" providerId="ADAL" clId="{C20A7EBD-05E7-4848-BF1E-FC9C636FD9C1}" dt="2021-12-02T17:42:56.559" v="129" actId="20577"/>
          <ac:spMkLst>
            <pc:docMk/>
            <pc:sldMk cId="248483385" sldId="2146847679"/>
            <ac:spMk id="6" creationId="{D879D2B5-CB94-4D69-A687-C46C0042CA37}"/>
          </ac:spMkLst>
        </pc:spChg>
      </pc:sldChg>
    </pc:docChg>
  </pc:docChgLst>
  <pc:docChgLst>
    <pc:chgData name="Anthony,Krysta" userId="9244f7b8-c8dd-42c9-82f4-0cc36500d639" providerId="ADAL" clId="{415A65D4-1D03-424D-BD24-A7C04A84772C}"/>
    <pc:docChg chg="undo redo custSel addSld delSld modSld sldOrd">
      <pc:chgData name="Anthony,Krysta" userId="9244f7b8-c8dd-42c9-82f4-0cc36500d639" providerId="ADAL" clId="{415A65D4-1D03-424D-BD24-A7C04A84772C}" dt="2021-11-22T20:02:02.660" v="842" actId="166"/>
      <pc:docMkLst>
        <pc:docMk/>
      </pc:docMkLst>
      <pc:sldChg chg="delSp modSp mod">
        <pc:chgData name="Anthony,Krysta" userId="9244f7b8-c8dd-42c9-82f4-0cc36500d639" providerId="ADAL" clId="{415A65D4-1D03-424D-BD24-A7C04A84772C}" dt="2021-11-18T21:47:53.182" v="186" actId="20577"/>
        <pc:sldMkLst>
          <pc:docMk/>
          <pc:sldMk cId="1181283028" sldId="2146847660"/>
        </pc:sldMkLst>
        <pc:spChg chg="mod">
          <ac:chgData name="Anthony,Krysta" userId="9244f7b8-c8dd-42c9-82f4-0cc36500d639" providerId="ADAL" clId="{415A65D4-1D03-424D-BD24-A7C04A84772C}" dt="2021-11-18T21:47:53.182" v="186" actId="20577"/>
          <ac:spMkLst>
            <pc:docMk/>
            <pc:sldMk cId="1181283028" sldId="2146847660"/>
            <ac:spMk id="25" creationId="{E6BE25FD-F227-4AAF-810A-1D68834A65A4}"/>
          </ac:spMkLst>
        </pc:spChg>
        <pc:picChg chg="del mod">
          <ac:chgData name="Anthony,Krysta" userId="9244f7b8-c8dd-42c9-82f4-0cc36500d639" providerId="ADAL" clId="{415A65D4-1D03-424D-BD24-A7C04A84772C}" dt="2021-11-18T21:47:39.456" v="175" actId="478"/>
          <ac:picMkLst>
            <pc:docMk/>
            <pc:sldMk cId="1181283028" sldId="2146847660"/>
            <ac:picMk id="3" creationId="{547ECEDC-02E4-4EFF-9B0A-27726B32F37A}"/>
          </ac:picMkLst>
        </pc:picChg>
      </pc:sldChg>
      <pc:sldChg chg="modSp mod ord">
        <pc:chgData name="Anthony,Krysta" userId="9244f7b8-c8dd-42c9-82f4-0cc36500d639" providerId="ADAL" clId="{415A65D4-1D03-424D-BD24-A7C04A84772C}" dt="2021-11-18T21:47:31.585" v="173" actId="20577"/>
        <pc:sldMkLst>
          <pc:docMk/>
          <pc:sldMk cId="2695683757" sldId="2146847661"/>
        </pc:sldMkLst>
        <pc:spChg chg="mod">
          <ac:chgData name="Anthony,Krysta" userId="9244f7b8-c8dd-42c9-82f4-0cc36500d639" providerId="ADAL" clId="{415A65D4-1D03-424D-BD24-A7C04A84772C}" dt="2021-11-18T21:47:31.585" v="173" actId="20577"/>
          <ac:spMkLst>
            <pc:docMk/>
            <pc:sldMk cId="2695683757" sldId="2146847661"/>
            <ac:spMk id="2" creationId="{47330703-C518-474D-B01F-5C2CD4261FE4}"/>
          </ac:spMkLst>
        </pc:spChg>
        <pc:spChg chg="mod">
          <ac:chgData name="Anthony,Krysta" userId="9244f7b8-c8dd-42c9-82f4-0cc36500d639" providerId="ADAL" clId="{415A65D4-1D03-424D-BD24-A7C04A84772C}" dt="2021-11-18T21:47:21.554" v="172" actId="948"/>
          <ac:spMkLst>
            <pc:docMk/>
            <pc:sldMk cId="2695683757" sldId="2146847661"/>
            <ac:spMk id="7" creationId="{9F0C22E4-10E6-4AFD-AE53-3A04C8B96ADD}"/>
          </ac:spMkLst>
        </pc:spChg>
      </pc:sldChg>
      <pc:sldChg chg="del">
        <pc:chgData name="Anthony,Krysta" userId="9244f7b8-c8dd-42c9-82f4-0cc36500d639" providerId="ADAL" clId="{415A65D4-1D03-424D-BD24-A7C04A84772C}" dt="2021-11-18T21:48:02.764" v="187" actId="47"/>
        <pc:sldMkLst>
          <pc:docMk/>
          <pc:sldMk cId="1322376175" sldId="2146847663"/>
        </pc:sldMkLst>
      </pc:sldChg>
      <pc:sldChg chg="addSp delSp modSp mod">
        <pc:chgData name="Anthony,Krysta" userId="9244f7b8-c8dd-42c9-82f4-0cc36500d639" providerId="ADAL" clId="{415A65D4-1D03-424D-BD24-A7C04A84772C}" dt="2021-11-22T19:50:51.896" v="695" actId="14100"/>
        <pc:sldMkLst>
          <pc:docMk/>
          <pc:sldMk cId="1482281308" sldId="2146847666"/>
        </pc:sldMkLst>
        <pc:spChg chg="mod">
          <ac:chgData name="Anthony,Krysta" userId="9244f7b8-c8dd-42c9-82f4-0cc36500d639" providerId="ADAL" clId="{415A65D4-1D03-424D-BD24-A7C04A84772C}" dt="2021-11-18T21:46:17.903" v="165"/>
          <ac:spMkLst>
            <pc:docMk/>
            <pc:sldMk cId="1482281308" sldId="2146847666"/>
            <ac:spMk id="2" creationId="{00000000-0000-0000-0000-000000000000}"/>
          </ac:spMkLst>
        </pc:spChg>
        <pc:spChg chg="mod">
          <ac:chgData name="Anthony,Krysta" userId="9244f7b8-c8dd-42c9-82f4-0cc36500d639" providerId="ADAL" clId="{415A65D4-1D03-424D-BD24-A7C04A84772C}" dt="2021-11-22T19:50:27.689" v="690" actId="2711"/>
          <ac:spMkLst>
            <pc:docMk/>
            <pc:sldMk cId="1482281308" sldId="2146847666"/>
            <ac:spMk id="7" creationId="{1ED5D1A7-C0C7-4AFE-946F-5F87D0489426}"/>
          </ac:spMkLst>
        </pc:spChg>
        <pc:spChg chg="del">
          <ac:chgData name="Anthony,Krysta" userId="9244f7b8-c8dd-42c9-82f4-0cc36500d639" providerId="ADAL" clId="{415A65D4-1D03-424D-BD24-A7C04A84772C}" dt="2021-11-18T21:46:11.216" v="163" actId="478"/>
          <ac:spMkLst>
            <pc:docMk/>
            <pc:sldMk cId="1482281308" sldId="2146847666"/>
            <ac:spMk id="7" creationId="{8CC6A955-DC75-4883-BD7A-4FF83101B888}"/>
          </ac:spMkLst>
        </pc:spChg>
        <pc:spChg chg="add mod">
          <ac:chgData name="Anthony,Krysta" userId="9244f7b8-c8dd-42c9-82f4-0cc36500d639" providerId="ADAL" clId="{415A65D4-1D03-424D-BD24-A7C04A84772C}" dt="2021-11-22T19:50:51.896" v="695" actId="14100"/>
          <ac:spMkLst>
            <pc:docMk/>
            <pc:sldMk cId="1482281308" sldId="2146847666"/>
            <ac:spMk id="8" creationId="{0FE62CB8-E837-4958-9A59-447FAD707758}"/>
          </ac:spMkLst>
        </pc:spChg>
        <pc:spChg chg="add mod">
          <ac:chgData name="Anthony,Krysta" userId="9244f7b8-c8dd-42c9-82f4-0cc36500d639" providerId="ADAL" clId="{415A65D4-1D03-424D-BD24-A7C04A84772C}" dt="2021-11-18T21:46:11.538" v="164"/>
          <ac:spMkLst>
            <pc:docMk/>
            <pc:sldMk cId="1482281308" sldId="2146847666"/>
            <ac:spMk id="8" creationId="{D216223E-CA66-4E09-96D1-0806A2CB7E4F}"/>
          </ac:spMkLst>
        </pc:spChg>
        <pc:spChg chg="add mod">
          <ac:chgData name="Anthony,Krysta" userId="9244f7b8-c8dd-42c9-82f4-0cc36500d639" providerId="ADAL" clId="{415A65D4-1D03-424D-BD24-A7C04A84772C}" dt="2021-11-22T19:50:46.891" v="693" actId="108"/>
          <ac:spMkLst>
            <pc:docMk/>
            <pc:sldMk cId="1482281308" sldId="2146847666"/>
            <ac:spMk id="14" creationId="{6484C9EE-403A-46AF-99A4-BEBF320D186C}"/>
          </ac:spMkLst>
        </pc:spChg>
        <pc:spChg chg="add mod">
          <ac:chgData name="Anthony,Krysta" userId="9244f7b8-c8dd-42c9-82f4-0cc36500d639" providerId="ADAL" clId="{415A65D4-1D03-424D-BD24-A7C04A84772C}" dt="2021-11-22T19:50:48.496" v="694" actId="108"/>
          <ac:spMkLst>
            <pc:docMk/>
            <pc:sldMk cId="1482281308" sldId="2146847666"/>
            <ac:spMk id="15" creationId="{5630AA28-8489-4F4E-8DF2-4BE43F9762E8}"/>
          </ac:spMkLst>
        </pc:spChg>
        <pc:picChg chg="add del">
          <ac:chgData name="Anthony,Krysta" userId="9244f7b8-c8dd-42c9-82f4-0cc36500d639" providerId="ADAL" clId="{415A65D4-1D03-424D-BD24-A7C04A84772C}" dt="2021-11-22T19:32:39.202" v="405" actId="478"/>
          <ac:picMkLst>
            <pc:docMk/>
            <pc:sldMk cId="1482281308" sldId="2146847666"/>
            <ac:picMk id="9" creationId="{9EB161DD-B560-4837-B9B4-A82B7944EC26}"/>
          </ac:picMkLst>
        </pc:picChg>
        <pc:picChg chg="del">
          <ac:chgData name="Anthony,Krysta" userId="9244f7b8-c8dd-42c9-82f4-0cc36500d639" providerId="ADAL" clId="{415A65D4-1D03-424D-BD24-A7C04A84772C}" dt="2021-11-22T19:32:57.899" v="434" actId="478"/>
          <ac:picMkLst>
            <pc:docMk/>
            <pc:sldMk cId="1482281308" sldId="2146847666"/>
            <ac:picMk id="11" creationId="{B8E6D8C9-946E-476F-BC84-DFCC25054569}"/>
          </ac:picMkLst>
        </pc:picChg>
        <pc:picChg chg="del mod">
          <ac:chgData name="Anthony,Krysta" userId="9244f7b8-c8dd-42c9-82f4-0cc36500d639" providerId="ADAL" clId="{415A65D4-1D03-424D-BD24-A7C04A84772C}" dt="2021-11-22T19:33:04.353" v="436" actId="478"/>
          <ac:picMkLst>
            <pc:docMk/>
            <pc:sldMk cId="1482281308" sldId="2146847666"/>
            <ac:picMk id="19" creationId="{72D53D68-7E39-4FD9-9130-516CD59F3CB2}"/>
          </ac:picMkLst>
        </pc:picChg>
      </pc:sldChg>
      <pc:sldChg chg="addSp delSp modSp add del mod">
        <pc:chgData name="Anthony,Krysta" userId="9244f7b8-c8dd-42c9-82f4-0cc36500d639" providerId="ADAL" clId="{415A65D4-1D03-424D-BD24-A7C04A84772C}" dt="2021-11-22T20:01:57.594" v="841" actId="166"/>
        <pc:sldMkLst>
          <pc:docMk/>
          <pc:sldMk cId="1713831338" sldId="2146847673"/>
        </pc:sldMkLst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2" creationId="{A259B8A7-D6CA-4AFC-BBC6-CC453AA1D797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" creationId="{1FAB37FA-A414-4543-B788-93A1F46F824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" creationId="{D94D46F3-0C22-4D2E-9196-FF49AE0B79DA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" creationId="{09DD572C-4598-4FF5-88A4-F34509DFEA89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6" creationId="{872920A5-0EDB-43D5-A5FD-E118D37AD367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" creationId="{A259E955-89A1-421F-9A73-B379C3978388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20" creationId="{6E53C7FC-9E04-4278-A92E-B3B96980A698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0" creationId="{A58318ED-BBF0-4E87-B184-BD23B842707F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1" creationId="{612A61FD-388C-4E39-8217-44893D6C78DF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2" creationId="{F14C21CD-ACC2-40F8-9D66-E8363287470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3" creationId="{D8FBA0A7-AD8E-46A6-B769-732D2EF0D415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4" creationId="{02CA3C13-668E-439B-AB22-BEFF95B6ECFC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6" creationId="{7D03A3BE-7F20-4404-BB4C-65E320F1143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7" creationId="{6DAAD2BA-028D-4D15-AF82-3F617BBC2ED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39" creationId="{8A8C63F0-15F8-4824-AC65-51CCB375A040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4" creationId="{426A3E9A-0D59-49A4-AF95-FAD0DA40E8A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47" creationId="{058E8B42-6AAC-4AF8-A054-158E6B0E3484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8" creationId="{341B1DAB-4EAA-4891-9F62-230CD3CB8C3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59" creationId="{E9B29413-A111-4FCC-87AB-EDC39E95212D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60" creationId="{7ED41AA4-FBC5-4FC0-B635-252949DDABB0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2" creationId="{1C316601-E3E6-4275-A52C-19B93E0AF544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3" creationId="{05DEA182-54CA-424F-863F-78A79250383A}"/>
          </ac:spMkLst>
        </pc:spChg>
        <pc:spChg chg="add del mod">
          <ac:chgData name="Anthony,Krysta" userId="9244f7b8-c8dd-42c9-82f4-0cc36500d639" providerId="ADAL" clId="{415A65D4-1D03-424D-BD24-A7C04A84772C}" dt="2021-11-18T21:45:42.749" v="159" actId="478"/>
          <ac:spMkLst>
            <pc:docMk/>
            <pc:sldMk cId="1713831338" sldId="2146847673"/>
            <ac:spMk id="63" creationId="{50CA1E37-2220-4A9D-8A13-7E306FD51FD0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4" creationId="{17EA3433-6C8A-4EDD-9DC3-5A8F18F7D3CC}"/>
          </ac:spMkLst>
        </pc:spChg>
        <pc:spChg chg="add del">
          <ac:chgData name="Anthony,Krysta" userId="9244f7b8-c8dd-42c9-82f4-0cc36500d639" providerId="ADAL" clId="{415A65D4-1D03-424D-BD24-A7C04A84772C}" dt="2021-11-18T19:07:42.967" v="6" actId="478"/>
          <ac:spMkLst>
            <pc:docMk/>
            <pc:sldMk cId="1713831338" sldId="2146847673"/>
            <ac:spMk id="65" creationId="{8E2900A1-F2E2-4110-BFF1-1A84CD20D711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0" creationId="{57ECFF0A-2895-4381-99E1-E0123A979EDB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1" creationId="{51884D05-2F54-4B3A-95FD-0779C06EDC82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2" creationId="{A1932B40-76C2-48D9-BE0C-200BD4B56236}"/>
          </ac:spMkLst>
        </pc:spChg>
        <pc:spChg chg="add mod">
          <ac:chgData name="Anthony,Krysta" userId="9244f7b8-c8dd-42c9-82f4-0cc36500d639" providerId="ADAL" clId="{415A65D4-1D03-424D-BD24-A7C04A84772C}" dt="2021-11-22T19:33:21.176" v="455" actId="571"/>
          <ac:spMkLst>
            <pc:docMk/>
            <pc:sldMk cId="1713831338" sldId="2146847673"/>
            <ac:spMk id="72" creationId="{FA0BEE2D-168C-4239-B5AB-088ED54755DD}"/>
          </ac:spMkLst>
        </pc:spChg>
        <pc:spChg chg="del">
          <ac:chgData name="Anthony,Krysta" userId="9244f7b8-c8dd-42c9-82f4-0cc36500d639" providerId="ADAL" clId="{415A65D4-1D03-424D-BD24-A7C04A84772C}" dt="2021-11-18T21:45:34.068" v="153" actId="478"/>
          <ac:spMkLst>
            <pc:docMk/>
            <pc:sldMk cId="1713831338" sldId="2146847673"/>
            <ac:spMk id="73" creationId="{90940768-6A27-4824-8D1F-A778031F5B81}"/>
          </ac:spMkLst>
        </pc:spChg>
        <pc:spChg chg="del">
          <ac:chgData name="Anthony,Krysta" userId="9244f7b8-c8dd-42c9-82f4-0cc36500d639" providerId="ADAL" clId="{415A65D4-1D03-424D-BD24-A7C04A84772C}" dt="2021-11-18T21:45:38.763" v="158" actId="478"/>
          <ac:spMkLst>
            <pc:docMk/>
            <pc:sldMk cId="1713831338" sldId="2146847673"/>
            <ac:spMk id="76" creationId="{0687C99B-3561-4CAD-8B07-C35D5C3DF29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7" creationId="{EEC5191C-2CD3-4E5D-9F18-DFD8230C1A7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8" creationId="{5CB6DAEA-FB5F-4EF7-8D75-3463E589DC0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79" creationId="{D5E7618F-5B41-4DF7-97CA-20B6F926AAA7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80" creationId="{E748F62F-DF62-430A-83A6-AD416554FDC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3" creationId="{522917CC-80A2-4C87-9A79-8ADBD471390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4" creationId="{99FF90A1-5198-44F5-A6A3-56DEE312DA4F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5" creationId="{D5101E08-3EB2-43E7-AC7C-9779598F591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6" creationId="{BE641018-925B-4CA0-A903-86962F62AD8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7" creationId="{A01E0F63-F745-4CF7-A4B3-E2898004419F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8" creationId="{068761FC-D1A8-437C-BED9-AB080C6169F9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89" creationId="{BF2500AC-89E8-454C-AE85-DB928A1B627C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1" creationId="{1742314C-2AF2-43F8-B90E-6007A0D05676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2" creationId="{3C154248-89FE-4412-81D6-6736A8569BB5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93" creationId="{1DEF1577-AC4B-44EE-AD04-4328A2B13EBA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5" creationId="{D00442BC-1E72-4231-9C4A-79D790FF2474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6" creationId="{9C84668B-BF42-425D-9B81-FE8B0231136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8" creationId="{18E77EDF-5D80-4A7F-98AE-3B754AF9A263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99" creationId="{427D1872-822C-439E-A319-C83E85DFF3E4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01" creationId="{719EC2EF-F470-40DB-82D3-833A80846F7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02" creationId="{577026FC-07A5-42D7-9438-C20E794CF70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3" creationId="{7B51ECC9-7B2F-4AEB-A796-07F107180A5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4" creationId="{DAE93331-52C8-4BE2-A477-05E4F23470CC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5" creationId="{EC369EF1-F626-48A5-958D-B0B6A96B04FD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6" creationId="{6E729959-CD63-4522-886B-603E1F04C7B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8" creationId="{93D85D5E-ADBA-4EB6-9A23-AED1D2E1552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09" creationId="{6F7805C7-97AA-4E25-B0F9-E66DFE6A53C9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1" creationId="{0965F1F0-F08E-44F2-8E55-6799CB2F7E53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15" creationId="{5B833904-4A8B-4905-BD3F-959EB215077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6" creationId="{21E408C9-F660-499F-9A5E-DCB4400276FF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19" creationId="{EDF220E0-E4B0-4388-937B-5056BA0F5CA8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3" creationId="{C6EA335F-8E76-49A7-AAFC-9AC464B1C375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4" creationId="{CB9EA6D3-5734-4CE5-8F55-D96D1FE4FB8D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5" creationId="{3C7667BA-B275-457E-BD43-8EF6F54511FB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7" creationId="{418D8330-B969-4414-A695-1D2B440BBD3B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8" creationId="{85730701-572D-4082-B1F1-BF2CEE82EA90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29" creationId="{25129617-30AA-4230-8120-6F810914CCF3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0" creationId="{F01CD205-7A1E-45AC-841C-90A8C25E0B88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1" creationId="{DFBF47E5-6D4F-449B-8A09-48C02798AE06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2" creationId="{DEE35EE9-283C-43B6-81A0-9934E6F4C6B7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4" creationId="{5DEE1FC4-1494-40CC-B207-44691E534721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5" creationId="{08512809-7A4A-4F56-9E00-A12CCC261B0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6" creationId="{550E222D-8065-42C3-AE5A-584104EF016B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37" creationId="{CD82CDAD-793D-4FA3-BCE7-780ACDA34AFA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39" creationId="{BF19C4A2-8F74-483C-9388-4B8D022DE408}"/>
          </ac:spMkLst>
        </pc:spChg>
        <pc:spChg chg="mod">
          <ac:chgData name="Anthony,Krysta" userId="9244f7b8-c8dd-42c9-82f4-0cc36500d639" providerId="ADAL" clId="{415A65D4-1D03-424D-BD24-A7C04A84772C}" dt="2021-11-18T21:45:34.855" v="154"/>
          <ac:spMkLst>
            <pc:docMk/>
            <pc:sldMk cId="1713831338" sldId="2146847673"/>
            <ac:spMk id="140" creationId="{4A9D96E8-CB08-4CAD-81A0-7E4079C619F4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2" creationId="{C6C360EE-C0B6-4F8F-A61B-B913410A1979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3" creationId="{574A2E7D-8DB8-4E63-86E2-98277D48BD23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4" creationId="{136319A1-1E49-47A9-AEDF-3CB5445944AA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5" creationId="{64C54E42-2D14-441B-9D43-4883D682CB5F}"/>
          </ac:spMkLst>
        </pc:spChg>
        <pc:spChg chg="add del mod">
          <ac:chgData name="Anthony,Krysta" userId="9244f7b8-c8dd-42c9-82f4-0cc36500d639" providerId="ADAL" clId="{415A65D4-1D03-424D-BD24-A7C04A84772C}" dt="2021-11-18T21:45:35.990" v="157"/>
          <ac:spMkLst>
            <pc:docMk/>
            <pc:sldMk cId="1713831338" sldId="2146847673"/>
            <ac:spMk id="148" creationId="{B75336B0-B024-48AE-B31A-09B62C845585}"/>
          </ac:spMkLst>
        </pc:spChg>
        <pc:spChg chg="add mod">
          <ac:chgData name="Anthony,Krysta" userId="9244f7b8-c8dd-42c9-82f4-0cc36500d639" providerId="ADAL" clId="{415A65D4-1D03-424D-BD24-A7C04A84772C}" dt="2021-11-22T18:42:15.349" v="249" actId="115"/>
          <ac:spMkLst>
            <pc:docMk/>
            <pc:sldMk cId="1713831338" sldId="2146847673"/>
            <ac:spMk id="149" creationId="{22B7C3B6-B297-4FF9-AC27-80EF42320CAE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0" creationId="{C5574C87-E6DF-48AC-882A-34B1C4F83A7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1" creationId="{8F6DDC32-A471-4D33-917A-A3BF9194B59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2" creationId="{2AB104EB-4402-470F-9695-0FCBBA8B8BD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5" creationId="{0829F6C8-E008-4035-ACE7-7C585331B45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6" creationId="{25A6C163-526A-48C3-AB18-F21AC6157B8F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7" creationId="{B0A44D33-2A04-48D0-831D-8384A7A5FF7C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8" creationId="{7F80E58D-AC15-41EC-A7D8-F2AA4DA1127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59" creationId="{1F6EB817-3AA6-4698-A32E-35CB9A854DC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0" creationId="{05C3856C-9538-4EAE-B157-67E8312F704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1" creationId="{B9981735-DC87-4C31-8C8E-B24323C8EAB0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3" creationId="{D4990F05-CCEF-4BFF-BDB2-576D5F341AF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4" creationId="{30432249-75A5-47B2-864B-E1A301D549DC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5" creationId="{55E7920A-2C5F-4F06-936C-85365E541A3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7" creationId="{28C9D597-7891-42D6-A63D-2ADBFD24C02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68" creationId="{7C472B69-E087-470F-B5BE-8BB77BE72128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0" creationId="{AE0D6878-1EB3-4B6B-B971-387D0CC15C3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1" creationId="{F5B84634-9A43-4522-A9D9-97DEE7D56F84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3" creationId="{C67903CF-8E07-4D1A-B53C-CAC859922CC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4" creationId="{39709BA1-F545-4A2E-AE5D-DBE87363D663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5" creationId="{F1A40C12-CD5A-4291-A631-BD94AC38E27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6" creationId="{FA12909C-ACBC-4817-8062-70B12D3F7F6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77" creationId="{5F9E5416-D604-4545-A129-CBECA70C706C}"/>
          </ac:spMkLst>
        </pc:spChg>
        <pc:spChg chg="add mod ord">
          <ac:chgData name="Anthony,Krysta" userId="9244f7b8-c8dd-42c9-82f4-0cc36500d639" providerId="ADAL" clId="{415A65D4-1D03-424D-BD24-A7C04A84772C}" dt="2021-11-22T20:01:57.594" v="841" actId="166"/>
          <ac:spMkLst>
            <pc:docMk/>
            <pc:sldMk cId="1713831338" sldId="2146847673"/>
            <ac:spMk id="178" creationId="{E1468106-E4D9-47D0-8B9E-7AF8E4BA7109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0" creationId="{8D0C6FAA-1801-4DD6-B40C-8C847C452A44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1" creationId="{20020DD6-2BA4-4969-9623-80D442CD167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3" creationId="{71FC18B1-679F-4259-8C6F-38829ED984DF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7" creationId="{63A19F6C-0322-4354-B069-ED1E478F4802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88" creationId="{36632CC5-1A58-4C1F-9961-B5A1BBC1B424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1" creationId="{E5043866-1C7B-430C-84D9-F8E895CCC321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5" creationId="{B15E29FF-D203-4EEF-B549-C9B49287FAB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6" creationId="{D80BAD37-2618-4E45-9826-B89ECAB8A269}"/>
          </ac:spMkLst>
        </pc:spChg>
        <pc:spChg chg="mod">
          <ac:chgData name="Anthony,Krysta" userId="9244f7b8-c8dd-42c9-82f4-0cc36500d639" providerId="ADAL" clId="{415A65D4-1D03-424D-BD24-A7C04A84772C}" dt="2021-11-22T19:48:54.412" v="653" actId="207"/>
          <ac:spMkLst>
            <pc:docMk/>
            <pc:sldMk cId="1713831338" sldId="2146847673"/>
            <ac:spMk id="197" creationId="{C4EE1FCE-8729-4198-9757-1101E905B31E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199" creationId="{A099B833-5CB8-42C5-BC51-BD78E8F5E5B2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0" creationId="{4C7DF92D-109C-457E-9ED6-27C58849ECFB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1" creationId="{2A2DE0DD-1D4C-4ABB-BCBA-56E2C7F05605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2" creationId="{1899738A-D4E9-46AD-A2B4-82534F0AFE7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3" creationId="{8823F98F-9FBB-4CBB-AE94-DD04BD1AAB67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04" creationId="{EDA96B39-61E9-44DD-95F1-108A7CFEC4F4}"/>
          </ac:spMkLst>
        </pc:spChg>
        <pc:spChg chg="add del mod">
          <ac:chgData name="Anthony,Krysta" userId="9244f7b8-c8dd-42c9-82f4-0cc36500d639" providerId="ADAL" clId="{415A65D4-1D03-424D-BD24-A7C04A84772C}" dt="2021-11-18T21:46:00.140" v="162" actId="478"/>
          <ac:spMkLst>
            <pc:docMk/>
            <pc:sldMk cId="1713831338" sldId="2146847673"/>
            <ac:spMk id="206" creationId="{0AE32D2C-8234-46B3-93BF-5980946E87CD}"/>
          </ac:spMkLst>
        </pc:spChg>
        <pc:spChg chg="add del mod">
          <ac:chgData name="Anthony,Krysta" userId="9244f7b8-c8dd-42c9-82f4-0cc36500d639" providerId="ADAL" clId="{415A65D4-1D03-424D-BD24-A7C04A84772C}" dt="2021-11-18T21:45:56.668" v="161" actId="478"/>
          <ac:spMkLst>
            <pc:docMk/>
            <pc:sldMk cId="1713831338" sldId="2146847673"/>
            <ac:spMk id="207" creationId="{38E21CE3-8C55-467A-8DD0-72A07D8A1150}"/>
          </ac:spMkLst>
        </pc:spChg>
        <pc:spChg chg="add del mod">
          <ac:chgData name="Anthony,Krysta" userId="9244f7b8-c8dd-42c9-82f4-0cc36500d639" providerId="ADAL" clId="{415A65D4-1D03-424D-BD24-A7C04A84772C}" dt="2021-11-18T21:45:56.668" v="161" actId="478"/>
          <ac:spMkLst>
            <pc:docMk/>
            <pc:sldMk cId="1713831338" sldId="2146847673"/>
            <ac:spMk id="208" creationId="{E35CDA47-1D10-4D93-9AAF-E02611102025}"/>
          </ac:spMkLst>
        </pc:spChg>
        <pc:spChg chg="add del mod">
          <ac:chgData name="Anthony,Krysta" userId="9244f7b8-c8dd-42c9-82f4-0cc36500d639" providerId="ADAL" clId="{415A65D4-1D03-424D-BD24-A7C04A84772C}" dt="2021-11-18T21:46:00.140" v="162" actId="478"/>
          <ac:spMkLst>
            <pc:docMk/>
            <pc:sldMk cId="1713831338" sldId="2146847673"/>
            <ac:spMk id="209" creationId="{A7403111-02F9-4FFE-8769-D409B062BD56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1" creationId="{AC498253-229D-4E22-A57E-BE0FE5071609}"/>
          </ac:spMkLst>
        </pc:spChg>
        <pc:spChg chg="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2" creationId="{43439656-89AF-4B83-A9BF-A652ADC96543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4" creationId="{833C16EF-8F0B-4F3E-ACA4-64211D4AD8BD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5" creationId="{4022F40C-83E0-4526-BDD9-139AC965A956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6" creationId="{D0E2D7FE-74EB-4F42-96A4-392ABFF13F41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17" creationId="{DAD41955-DCC6-496D-B924-5E09915A3FAB}"/>
          </ac:spMkLst>
        </pc:spChg>
        <pc:spChg chg="add mod">
          <ac:chgData name="Anthony,Krysta" userId="9244f7b8-c8dd-42c9-82f4-0cc36500d639" providerId="ADAL" clId="{415A65D4-1D03-424D-BD24-A7C04A84772C}" dt="2021-11-18T21:45:43.101" v="160"/>
          <ac:spMkLst>
            <pc:docMk/>
            <pc:sldMk cId="1713831338" sldId="2146847673"/>
            <ac:spMk id="220" creationId="{0838FF8C-6689-452B-B1D5-0B54D5359008}"/>
          </ac:spMkLst>
        </pc:s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9" creationId="{D91495F7-1A01-4931-9120-8CAD537F69DE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17" creationId="{761E61C8-34C7-41FE-A781-9FE1041DBA9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1" creationId="{95F07D45-F013-4763-B1EE-22496897E6D3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4" creationId="{98AB1286-9BB1-4EDF-A6B8-0189DD0D42E8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27" creationId="{03983C5E-7104-4402-9927-66B681E40A2E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41" creationId="{7E6B7593-CC84-47BF-818C-AD3488BDD53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50" creationId="{8D9B38D4-30B8-462F-8262-15D01682D28D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54" creationId="{1DD381CA-F045-4CC8-9245-4E8F69BB5845}"/>
          </ac:grpSpMkLst>
        </pc:grpChg>
        <pc:grpChg chg="del">
          <ac:chgData name="Anthony,Krysta" userId="9244f7b8-c8dd-42c9-82f4-0cc36500d639" providerId="ADAL" clId="{415A65D4-1D03-424D-BD24-A7C04A84772C}" dt="2021-11-18T21:45:34.068" v="153" actId="478"/>
          <ac:grpSpMkLst>
            <pc:docMk/>
            <pc:sldMk cId="1713831338" sldId="2146847673"/>
            <ac:grpSpMk id="66" creationId="{DD8E81C1-21C1-4996-805A-C18AF34528AD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82" creationId="{7489CA7E-A4C1-4602-808A-63E5BE700B31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0" creationId="{36DE40F6-42AA-4580-87B9-8EDAE7484417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4" creationId="{C5494C4C-6CCF-4DE1-849C-C49307979017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97" creationId="{87443492-E577-4B24-A0FC-013BAE4FBF94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00" creationId="{4A39E360-B69A-4B06-A26A-471AADB5A7E6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13" creationId="{EE751B2A-2E7E-4702-A9EA-538FFCEC81FB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22" creationId="{C72FF077-41B8-44C6-AAD1-52E5305432F2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26" creationId="{F29AAFF4-E688-4B0A-96EF-A08F64C8458D}"/>
          </ac:grpSpMkLst>
        </pc:grpChg>
        <pc:grpChg chg="add del mod">
          <ac:chgData name="Anthony,Krysta" userId="9244f7b8-c8dd-42c9-82f4-0cc36500d639" providerId="ADAL" clId="{415A65D4-1D03-424D-BD24-A7C04A84772C}" dt="2021-11-18T21:45:35.990" v="157"/>
          <ac:grpSpMkLst>
            <pc:docMk/>
            <pc:sldMk cId="1713831338" sldId="2146847673"/>
            <ac:grpSpMk id="138" creationId="{5FB3ABEB-4001-41EE-BE31-4AC0AC4E1350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54" creationId="{67EB302F-AC41-4C95-A4DF-6F1277D3B68D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2" creationId="{28A56DC1-7A4D-46F1-98CE-61385CE31C8C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6" creationId="{94BCC48E-DB50-40E1-A23D-18B8755CEBBF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69" creationId="{CCEAD554-7C8C-439F-814F-DA7F402DDB28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72" creationId="{81FA9629-DCA1-4157-A8A1-FEB8A074C4A5}"/>
          </ac:grpSpMkLst>
        </pc:grpChg>
        <pc:grpChg chg="add mod">
          <ac:chgData name="Anthony,Krysta" userId="9244f7b8-c8dd-42c9-82f4-0cc36500d639" providerId="ADAL" clId="{415A65D4-1D03-424D-BD24-A7C04A84772C}" dt="2021-11-22T18:39:31.156" v="238" actId="1038"/>
          <ac:grpSpMkLst>
            <pc:docMk/>
            <pc:sldMk cId="1713831338" sldId="2146847673"/>
            <ac:grpSpMk id="185" creationId="{A6136CB7-4EDA-4668-9E7A-5DEF668F3069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94" creationId="{7D1A5912-C2DB-41FA-9C60-9E4BDF40284E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198" creationId="{5E42C871-BA29-4851-90B8-C5EEF1021660}"/>
          </ac:grpSpMkLst>
        </pc:grpChg>
        <pc:grpChg chg="add mod">
          <ac:chgData name="Anthony,Krysta" userId="9244f7b8-c8dd-42c9-82f4-0cc36500d639" providerId="ADAL" clId="{415A65D4-1D03-424D-BD24-A7C04A84772C}" dt="2021-11-18T21:45:43.101" v="160"/>
          <ac:grpSpMkLst>
            <pc:docMk/>
            <pc:sldMk cId="1713831338" sldId="2146847673"/>
            <ac:grpSpMk id="210" creationId="{76DF175F-1D8C-4F64-9C63-F49FBA83EA06}"/>
          </ac:grpSpMkLst>
        </pc:grpChg>
        <pc:graphicFrameChg chg="del">
          <ac:chgData name="Anthony,Krysta" userId="9244f7b8-c8dd-42c9-82f4-0cc36500d639" providerId="ADAL" clId="{415A65D4-1D03-424D-BD24-A7C04A84772C}" dt="2021-11-18T21:45:34.068" v="153" actId="478"/>
          <ac:graphicFrameMkLst>
            <pc:docMk/>
            <pc:sldMk cId="1713831338" sldId="2146847673"/>
            <ac:graphicFrameMk id="8" creationId="{F4667FE0-BCC4-4256-9EF5-F7EBD094C9E4}"/>
          </ac:graphicFrameMkLst>
        </pc:graphicFrameChg>
        <pc:graphicFrameChg chg="add del mod">
          <ac:chgData name="Anthony,Krysta" userId="9244f7b8-c8dd-42c9-82f4-0cc36500d639" providerId="ADAL" clId="{415A65D4-1D03-424D-BD24-A7C04A84772C}" dt="2021-11-18T21:45:35.990" v="157"/>
          <ac:graphicFrameMkLst>
            <pc:docMk/>
            <pc:sldMk cId="1713831338" sldId="2146847673"/>
            <ac:graphicFrameMk id="81" creationId="{FA013C85-65AB-4622-9117-CFA00961823E}"/>
          </ac:graphicFrameMkLst>
        </pc:graphicFrameChg>
        <pc:graphicFrameChg chg="add mod">
          <ac:chgData name="Anthony,Krysta" userId="9244f7b8-c8dd-42c9-82f4-0cc36500d639" providerId="ADAL" clId="{415A65D4-1D03-424D-BD24-A7C04A84772C}" dt="2021-11-18T21:45:43.101" v="160"/>
          <ac:graphicFrameMkLst>
            <pc:docMk/>
            <pc:sldMk cId="1713831338" sldId="2146847673"/>
            <ac:graphicFrameMk id="153" creationId="{ADFE138C-6E85-4111-8C5C-C3E15CFD8CE7}"/>
          </ac:graphicFrameMkLst>
        </pc:graphicFrame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35" creationId="{A1454356-090B-4DE3-9F1E-7B8F00F57380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38" creationId="{1C965197-A5A7-4A5F-A0AF-0C536BD7BBDA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0" creationId="{BDF18E5F-C5B7-4694-ADBF-965E1AB9AD16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5" creationId="{F8792177-09EB-47A2-97F3-E8390CEBC273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6" creationId="{26EFC456-03DC-46D2-9354-7B4B80FDC7E1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8" creationId="{F702CFDA-D835-4778-A1A5-8A70020351FB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49" creationId="{4855E991-D88C-4C93-B615-3BC5869591EB}"/>
          </ac:cxnSpMkLst>
        </pc:cxnChg>
        <pc:cxnChg chg="del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61" creationId="{62E9E44B-0FD4-47CD-BA74-E447815C95BB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69" creationId="{DD0BDED4-0447-431A-832F-01B5A96F9BE6}"/>
          </ac:cxnSpMkLst>
        </pc:cxnChg>
        <pc:cxnChg chg="add mod">
          <ac:chgData name="Anthony,Krysta" userId="9244f7b8-c8dd-42c9-82f4-0cc36500d639" providerId="ADAL" clId="{415A65D4-1D03-424D-BD24-A7C04A84772C}" dt="2021-11-22T19:33:21.176" v="455" actId="571"/>
          <ac:cxnSpMkLst>
            <pc:docMk/>
            <pc:sldMk cId="1713831338" sldId="2146847673"/>
            <ac:cxnSpMk id="73" creationId="{9E31DCDD-8F0D-4FC9-8204-46D3D990DCBA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74" creationId="{36C2AE38-8474-46DC-AE76-F77E512238F6}"/>
          </ac:cxnSpMkLst>
        </pc:cxnChg>
        <pc:cxnChg chg="del mod">
          <ac:chgData name="Anthony,Krysta" userId="9244f7b8-c8dd-42c9-82f4-0cc36500d639" providerId="ADAL" clId="{415A65D4-1D03-424D-BD24-A7C04A84772C}" dt="2021-11-18T21:45:34.068" v="153" actId="478"/>
          <ac:cxnSpMkLst>
            <pc:docMk/>
            <pc:sldMk cId="1713831338" sldId="2146847673"/>
            <ac:cxnSpMk id="75" creationId="{4D5BC4AF-37C3-48D1-8047-2B81F99A9337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07" creationId="{E81456C6-0820-4BD4-9BC3-CD6688A5D5C1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0" creationId="{3448A854-2F65-469B-8CC0-0F149FF04A3D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2" creationId="{E279FCCC-5F48-40B9-8EDA-E7A84EE2E974}"/>
          </ac:cxnSpMkLst>
        </pc:cxnChg>
        <pc:cxnChg chg="mod">
          <ac:chgData name="Anthony,Krysta" userId="9244f7b8-c8dd-42c9-82f4-0cc36500d639" providerId="ADAL" clId="{415A65D4-1D03-424D-BD24-A7C04A84772C}" dt="2021-11-18T21:45:34.855" v="154"/>
          <ac:cxnSpMkLst>
            <pc:docMk/>
            <pc:sldMk cId="1713831338" sldId="2146847673"/>
            <ac:cxnSpMk id="114" creationId="{840E08E4-B67C-42FB-A456-060892C6B773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7" creationId="{69471217-F5F2-43C7-B5D5-853C168FBE3B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18" creationId="{9D4045E6-60F3-40B9-AF66-6DE891B5D252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20" creationId="{00966A62-C672-417F-A5A9-16E7BC5FFCE6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21" creationId="{3CD326BA-C5DD-4EFE-A1CA-4E61CA6AE9F2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33" creationId="{7DDEEF9A-F77E-4A62-949C-2E5BB946E64D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1" creationId="{3A2C9029-464F-4AF4-8283-E64AEDD84D6E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6" creationId="{C06F9F52-EEF4-4A9F-966C-E5C61B25C158}"/>
          </ac:cxnSpMkLst>
        </pc:cxnChg>
        <pc:cxnChg chg="add del mod">
          <ac:chgData name="Anthony,Krysta" userId="9244f7b8-c8dd-42c9-82f4-0cc36500d639" providerId="ADAL" clId="{415A65D4-1D03-424D-BD24-A7C04A84772C}" dt="2021-11-18T21:45:35.990" v="157"/>
          <ac:cxnSpMkLst>
            <pc:docMk/>
            <pc:sldMk cId="1713831338" sldId="2146847673"/>
            <ac:cxnSpMk id="147" creationId="{9CA4DFEA-4C57-4CBA-A86F-438CE8769AA3}"/>
          </ac:cxnSpMkLst>
        </pc:cxnChg>
        <pc:cxnChg chg="add mod">
          <ac:chgData name="Anthony,Krysta" userId="9244f7b8-c8dd-42c9-82f4-0cc36500d639" providerId="ADAL" clId="{415A65D4-1D03-424D-BD24-A7C04A84772C}" dt="2021-11-22T19:31:55.419" v="378" actId="14100"/>
          <ac:cxnSpMkLst>
            <pc:docMk/>
            <pc:sldMk cId="1713831338" sldId="2146847673"/>
            <ac:cxnSpMk id="179" creationId="{8A9AA192-7571-4E2D-98F5-21D2D1876D95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2" creationId="{90DC3D61-287E-4D82-B11C-AB2204887503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4" creationId="{95BFD921-2330-4E49-9B06-C78405491791}"/>
          </ac:cxnSpMkLst>
        </pc:cxnChg>
        <pc:cxnChg chg="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6" creationId="{708E5EE5-4E90-41EB-960F-2508B254B2C2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89" creationId="{76A3411E-7827-449C-A9C2-075D1FC896E8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0" creationId="{BA9F6D3F-5A07-4C84-A9E3-FFAA22D570C1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2" creationId="{8BF7E079-A6C4-451D-A578-B4C314F65415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193" creationId="{BF0BDE13-8DB4-4DB4-B28D-E6B1972F517E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05" creationId="{91D77C0C-562F-4F39-B0AC-F1ED205817F8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3" creationId="{26C31DA7-21AC-40A7-A730-E4E4132BB7E2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8" creationId="{DB5B999C-4E28-4504-80F2-CFC61927C699}"/>
          </ac:cxnSpMkLst>
        </pc:cxnChg>
        <pc:cxnChg chg="add mod">
          <ac:chgData name="Anthony,Krysta" userId="9244f7b8-c8dd-42c9-82f4-0cc36500d639" providerId="ADAL" clId="{415A65D4-1D03-424D-BD24-A7C04A84772C}" dt="2021-11-18T21:45:43.101" v="160"/>
          <ac:cxnSpMkLst>
            <pc:docMk/>
            <pc:sldMk cId="1713831338" sldId="2146847673"/>
            <ac:cxnSpMk id="219" creationId="{08859266-4BEE-43CC-AB12-9B87986A91D2}"/>
          </ac:cxnSpMkLst>
        </pc:cxnChg>
      </pc:sldChg>
      <pc:sldChg chg="addSp delSp modSp mod">
        <pc:chgData name="Anthony,Krysta" userId="9244f7b8-c8dd-42c9-82f4-0cc36500d639" providerId="ADAL" clId="{415A65D4-1D03-424D-BD24-A7C04A84772C}" dt="2021-11-22T19:50:17.606" v="689" actId="108"/>
        <pc:sldMkLst>
          <pc:docMk/>
          <pc:sldMk cId="4177386976" sldId="2146847674"/>
        </pc:sldMkLst>
        <pc:spChg chg="mod">
          <ac:chgData name="Anthony,Krysta" userId="9244f7b8-c8dd-42c9-82f4-0cc36500d639" providerId="ADAL" clId="{415A65D4-1D03-424D-BD24-A7C04A84772C}" dt="2021-11-22T19:44:36.432" v="631" actId="20577"/>
          <ac:spMkLst>
            <pc:docMk/>
            <pc:sldMk cId="4177386976" sldId="2146847674"/>
            <ac:spMk id="2" creationId="{DBFA6016-A0C5-450D-A20E-348BC06DD7DA}"/>
          </ac:spMkLst>
        </pc:spChg>
        <pc:spChg chg="del mod">
          <ac:chgData name="Anthony,Krysta" userId="9244f7b8-c8dd-42c9-82f4-0cc36500d639" providerId="ADAL" clId="{415A65D4-1D03-424D-BD24-A7C04A84772C}" dt="2021-11-22T19:16:03.843" v="250" actId="478"/>
          <ac:spMkLst>
            <pc:docMk/>
            <pc:sldMk cId="4177386976" sldId="2146847674"/>
            <ac:spMk id="8" creationId="{0535F116-B2AB-4DEB-91EB-B45CAC647D29}"/>
          </ac:spMkLst>
        </pc:spChg>
        <pc:spChg chg="mod topLvl">
          <ac:chgData name="Anthony,Krysta" userId="9244f7b8-c8dd-42c9-82f4-0cc36500d639" providerId="ADAL" clId="{415A65D4-1D03-424D-BD24-A7C04A84772C}" dt="2021-11-22T19:50:01.349" v="684" actId="2711"/>
          <ac:spMkLst>
            <pc:docMk/>
            <pc:sldMk cId="4177386976" sldId="2146847674"/>
            <ac:spMk id="29" creationId="{C613B215-AB82-4073-AE8A-7B35A08B232B}"/>
          </ac:spMkLst>
        </pc:spChg>
        <pc:spChg chg="mod topLvl">
          <ac:chgData name="Anthony,Krysta" userId="9244f7b8-c8dd-42c9-82f4-0cc36500d639" providerId="ADAL" clId="{415A65D4-1D03-424D-BD24-A7C04A84772C}" dt="2021-11-22T19:49:52.332" v="681" actId="108"/>
          <ac:spMkLst>
            <pc:docMk/>
            <pc:sldMk cId="4177386976" sldId="2146847674"/>
            <ac:spMk id="30" creationId="{E9D572A6-E885-4EE4-946A-38574A37E824}"/>
          </ac:spMkLst>
        </pc:spChg>
        <pc:spChg chg="mod topLvl">
          <ac:chgData name="Anthony,Krysta" userId="9244f7b8-c8dd-42c9-82f4-0cc36500d639" providerId="ADAL" clId="{415A65D4-1D03-424D-BD24-A7C04A84772C}" dt="2021-11-22T19:49:44.291" v="677" actId="2711"/>
          <ac:spMkLst>
            <pc:docMk/>
            <pc:sldMk cId="4177386976" sldId="2146847674"/>
            <ac:spMk id="31" creationId="{829D555A-0E2F-46DD-A6AE-073D61F802DF}"/>
          </ac:spMkLst>
        </pc:spChg>
        <pc:spChg chg="mod topLvl">
          <ac:chgData name="Anthony,Krysta" userId="9244f7b8-c8dd-42c9-82f4-0cc36500d639" providerId="ADAL" clId="{415A65D4-1D03-424D-BD24-A7C04A84772C}" dt="2021-11-22T19:49:47.649" v="678" actId="108"/>
          <ac:spMkLst>
            <pc:docMk/>
            <pc:sldMk cId="4177386976" sldId="2146847674"/>
            <ac:spMk id="33" creationId="{1BCB79F1-4C94-4DAA-A785-C7274497DF49}"/>
          </ac:spMkLst>
        </pc:spChg>
        <pc:spChg chg="mod topLvl">
          <ac:chgData name="Anthony,Krysta" userId="9244f7b8-c8dd-42c9-82f4-0cc36500d639" providerId="ADAL" clId="{415A65D4-1D03-424D-BD24-A7C04A84772C}" dt="2021-11-22T19:49:50.418" v="680" actId="108"/>
          <ac:spMkLst>
            <pc:docMk/>
            <pc:sldMk cId="4177386976" sldId="2146847674"/>
            <ac:spMk id="35" creationId="{7C94966D-2D60-4422-94E3-BFC6DC8117AB}"/>
          </ac:spMkLst>
        </pc:spChg>
        <pc:spChg chg="mod topLvl">
          <ac:chgData name="Anthony,Krysta" userId="9244f7b8-c8dd-42c9-82f4-0cc36500d639" providerId="ADAL" clId="{415A65D4-1D03-424D-BD24-A7C04A84772C}" dt="2021-11-22T19:50:04.569" v="685" actId="108"/>
          <ac:spMkLst>
            <pc:docMk/>
            <pc:sldMk cId="4177386976" sldId="2146847674"/>
            <ac:spMk id="36" creationId="{E024805D-C8A2-49AB-BA79-57A829A5B576}"/>
          </ac:spMkLst>
        </pc:spChg>
        <pc:spChg chg="mod topLvl">
          <ac:chgData name="Anthony,Krysta" userId="9244f7b8-c8dd-42c9-82f4-0cc36500d639" providerId="ADAL" clId="{415A65D4-1D03-424D-BD24-A7C04A84772C}" dt="2021-11-22T19:50:06" v="686" actId="108"/>
          <ac:spMkLst>
            <pc:docMk/>
            <pc:sldMk cId="4177386976" sldId="2146847674"/>
            <ac:spMk id="37" creationId="{AC0BC9FE-C0A8-4C89-A3B6-A6DFFC3D19C8}"/>
          </ac:spMkLst>
        </pc:spChg>
        <pc:spChg chg="mod topLvl">
          <ac:chgData name="Anthony,Krysta" userId="9244f7b8-c8dd-42c9-82f4-0cc36500d639" providerId="ADAL" clId="{415A65D4-1D03-424D-BD24-A7C04A84772C}" dt="2021-11-22T19:49:53.744" v="682" actId="108"/>
          <ac:spMkLst>
            <pc:docMk/>
            <pc:sldMk cId="4177386976" sldId="2146847674"/>
            <ac:spMk id="38" creationId="{90FEE8DB-5B69-4DEC-9874-E62DD0E3C05A}"/>
          </ac:spMkLst>
        </pc:spChg>
        <pc:spChg chg="mod topLvl">
          <ac:chgData name="Anthony,Krysta" userId="9244f7b8-c8dd-42c9-82f4-0cc36500d639" providerId="ADAL" clId="{415A65D4-1D03-424D-BD24-A7C04A84772C}" dt="2021-11-22T19:49:54.945" v="683" actId="108"/>
          <ac:spMkLst>
            <pc:docMk/>
            <pc:sldMk cId="4177386976" sldId="2146847674"/>
            <ac:spMk id="39" creationId="{AC73599C-91BF-4A2D-A19F-FF755BAF372F}"/>
          </ac:spMkLst>
        </pc:spChg>
        <pc:spChg chg="mod topLvl">
          <ac:chgData name="Anthony,Krysta" userId="9244f7b8-c8dd-42c9-82f4-0cc36500d639" providerId="ADAL" clId="{415A65D4-1D03-424D-BD24-A7C04A84772C}" dt="2021-11-22T19:50:12.514" v="687" actId="2711"/>
          <ac:spMkLst>
            <pc:docMk/>
            <pc:sldMk cId="4177386976" sldId="2146847674"/>
            <ac:spMk id="43" creationId="{DCDDFBA6-39D4-4547-9E41-B7152C2D4EE0}"/>
          </ac:spMkLst>
        </pc:spChg>
        <pc:spChg chg="mod topLvl">
          <ac:chgData name="Anthony,Krysta" userId="9244f7b8-c8dd-42c9-82f4-0cc36500d639" providerId="ADAL" clId="{415A65D4-1D03-424D-BD24-A7C04A84772C}" dt="2021-11-22T19:50:17.606" v="689" actId="108"/>
          <ac:spMkLst>
            <pc:docMk/>
            <pc:sldMk cId="4177386976" sldId="2146847674"/>
            <ac:spMk id="44" creationId="{2FB3C844-D7C0-49A1-AC7A-D109A89DF561}"/>
          </ac:spMkLst>
        </pc:spChg>
        <pc:spChg chg="mod topLvl">
          <ac:chgData name="Anthony,Krysta" userId="9244f7b8-c8dd-42c9-82f4-0cc36500d639" providerId="ADAL" clId="{415A65D4-1D03-424D-BD24-A7C04A84772C}" dt="2021-11-22T19:50:15.785" v="688" actId="108"/>
          <ac:spMkLst>
            <pc:docMk/>
            <pc:sldMk cId="4177386976" sldId="2146847674"/>
            <ac:spMk id="45" creationId="{B6DBAC68-A6A6-45CE-A856-C0E12AEC25F0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6" creationId="{8E274041-AE9E-47B1-AC2F-2F0505C7C5B4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7" creationId="{B9BA633A-5AA1-4B20-B292-A911EA8BD5C5}"/>
          </ac:spMkLst>
        </pc:spChg>
        <pc:spChg chg="mod">
          <ac:chgData name="Anthony,Krysta" userId="9244f7b8-c8dd-42c9-82f4-0cc36500d639" providerId="ADAL" clId="{415A65D4-1D03-424D-BD24-A7C04A84772C}" dt="2021-11-22T19:49:25.868" v="667" actId="164"/>
          <ac:spMkLst>
            <pc:docMk/>
            <pc:sldMk cId="4177386976" sldId="2146847674"/>
            <ac:spMk id="48" creationId="{8BA1EF83-21D2-442B-AFF9-B712FE93557C}"/>
          </ac:spMkLst>
        </pc:spChg>
        <pc:grpChg chg="add del mod">
          <ac:chgData name="Anthony,Krysta" userId="9244f7b8-c8dd-42c9-82f4-0cc36500d639" providerId="ADAL" clId="{415A65D4-1D03-424D-BD24-A7C04A84772C}" dt="2021-11-22T19:49:21.897" v="666" actId="165"/>
          <ac:grpSpMkLst>
            <pc:docMk/>
            <pc:sldMk cId="4177386976" sldId="2146847674"/>
            <ac:grpSpMk id="6" creationId="{6849E9C1-FB61-49CF-8E57-A2478F730685}"/>
          </ac:grpSpMkLst>
        </pc:grpChg>
        <pc:grpChg chg="add mod">
          <ac:chgData name="Anthony,Krysta" userId="9244f7b8-c8dd-42c9-82f4-0cc36500d639" providerId="ADAL" clId="{415A65D4-1D03-424D-BD24-A7C04A84772C}" dt="2021-11-22T19:49:27.728" v="676" actId="1036"/>
          <ac:grpSpMkLst>
            <pc:docMk/>
            <pc:sldMk cId="4177386976" sldId="2146847674"/>
            <ac:grpSpMk id="7" creationId="{43ABEE87-D03F-4124-B9BF-90B1CABCC343}"/>
          </ac:grpSpMkLst>
        </pc:grpChg>
        <pc:grpChg chg="del mod">
          <ac:chgData name="Anthony,Krysta" userId="9244f7b8-c8dd-42c9-82f4-0cc36500d639" providerId="ADAL" clId="{415A65D4-1D03-424D-BD24-A7C04A84772C}" dt="2021-11-22T19:44:11.976" v="622" actId="165"/>
          <ac:grpSpMkLst>
            <pc:docMk/>
            <pc:sldMk cId="4177386976" sldId="2146847674"/>
            <ac:grpSpMk id="28" creationId="{10A25C0E-1FED-4D69-A98D-5D440FAFBCBC}"/>
          </ac:grpSpMkLst>
        </pc:grp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32" creationId="{42BEB45E-1EC6-4977-8312-E11166CB3811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34" creationId="{E0FCC24D-92A4-4D15-9650-ADA988BCD4D7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0" creationId="{452BA920-56FC-4025-A5A7-CDDDE12F6E67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1" creationId="{79ED2F64-99C6-4457-AB94-C26E6C5873A4}"/>
          </ac:cxnSpMkLst>
        </pc:cxnChg>
        <pc:cxnChg chg="mod topLvl">
          <ac:chgData name="Anthony,Krysta" userId="9244f7b8-c8dd-42c9-82f4-0cc36500d639" providerId="ADAL" clId="{415A65D4-1D03-424D-BD24-A7C04A84772C}" dt="2021-11-22T19:49:25.868" v="667" actId="164"/>
          <ac:cxnSpMkLst>
            <pc:docMk/>
            <pc:sldMk cId="4177386976" sldId="2146847674"/>
            <ac:cxnSpMk id="42" creationId="{2D85B874-4173-479D-89A6-8A29BFB1B65E}"/>
          </ac:cxnSpMkLst>
        </pc:cxnChg>
      </pc:sldChg>
      <pc:sldChg chg="addSp delSp modSp del mod">
        <pc:chgData name="Anthony,Krysta" userId="9244f7b8-c8dd-42c9-82f4-0cc36500d639" providerId="ADAL" clId="{415A65D4-1D03-424D-BD24-A7C04A84772C}" dt="2021-11-22T19:48:03.933" v="651" actId="47"/>
        <pc:sldMkLst>
          <pc:docMk/>
          <pc:sldMk cId="3013332799" sldId="2146847675"/>
        </pc:sldMkLst>
        <pc:spChg chg="del">
          <ac:chgData name="Anthony,Krysta" userId="9244f7b8-c8dd-42c9-82f4-0cc36500d639" providerId="ADAL" clId="{415A65D4-1D03-424D-BD24-A7C04A84772C}" dt="2021-11-22T19:33:24.713" v="456" actId="478"/>
          <ac:spMkLst>
            <pc:docMk/>
            <pc:sldMk cId="3013332799" sldId="2146847675"/>
            <ac:spMk id="34" creationId="{02CA3C13-668E-439B-AB22-BEFF95B6ECFC}"/>
          </ac:spMkLst>
        </pc:spChg>
        <pc:spChg chg="mod">
          <ac:chgData name="Anthony,Krysta" userId="9244f7b8-c8dd-42c9-82f4-0cc36500d639" providerId="ADAL" clId="{415A65D4-1D03-424D-BD24-A7C04A84772C}" dt="2021-11-22T19:47:21.634" v="647" actId="14100"/>
          <ac:spMkLst>
            <pc:docMk/>
            <pc:sldMk cId="3013332799" sldId="2146847675"/>
            <ac:spMk id="64" creationId="{17EA3433-6C8A-4EDD-9DC3-5A8F18F7D3CC}"/>
          </ac:spMkLst>
        </pc:spChg>
        <pc:spChg chg="mod">
          <ac:chgData name="Anthony,Krysta" userId="9244f7b8-c8dd-42c9-82f4-0cc36500d639" providerId="ADAL" clId="{415A65D4-1D03-424D-BD24-A7C04A84772C}" dt="2021-11-22T19:47:24.355" v="648" actId="14100"/>
          <ac:spMkLst>
            <pc:docMk/>
            <pc:sldMk cId="3013332799" sldId="2146847675"/>
            <ac:spMk id="78" creationId="{F2FCD264-9C51-47AC-A6B7-29175B3FD3CC}"/>
          </ac:spMkLst>
        </pc:spChg>
        <pc:spChg chg="mod">
          <ac:chgData name="Anthony,Krysta" userId="9244f7b8-c8dd-42c9-82f4-0cc36500d639" providerId="ADAL" clId="{415A65D4-1D03-424D-BD24-A7C04A84772C}" dt="2021-11-22T19:47:27.237" v="649" actId="14100"/>
          <ac:spMkLst>
            <pc:docMk/>
            <pc:sldMk cId="3013332799" sldId="2146847675"/>
            <ac:spMk id="80" creationId="{660C3306-E1D3-43B9-BA01-931E5BB92B38}"/>
          </ac:spMkLst>
        </pc:spChg>
        <pc:spChg chg="add mod">
          <ac:chgData name="Anthony,Krysta" userId="9244f7b8-c8dd-42c9-82f4-0cc36500d639" providerId="ADAL" clId="{415A65D4-1D03-424D-BD24-A7C04A84772C}" dt="2021-11-22T19:33:25" v="457"/>
          <ac:spMkLst>
            <pc:docMk/>
            <pc:sldMk cId="3013332799" sldId="2146847675"/>
            <ac:spMk id="81" creationId="{5ABDDCBD-D4DE-4F41-8176-63C1B30D78C8}"/>
          </ac:spMkLst>
        </pc:spChg>
        <pc:cxnChg chg="del">
          <ac:chgData name="Anthony,Krysta" userId="9244f7b8-c8dd-42c9-82f4-0cc36500d639" providerId="ADAL" clId="{415A65D4-1D03-424D-BD24-A7C04A84772C}" dt="2021-11-22T19:33:24.713" v="456" actId="478"/>
          <ac:cxnSpMkLst>
            <pc:docMk/>
            <pc:sldMk cId="3013332799" sldId="2146847675"/>
            <ac:cxnSpMk id="35" creationId="{A1454356-090B-4DE3-9F1E-7B8F00F57380}"/>
          </ac:cxnSpMkLst>
        </pc:cxnChg>
        <pc:cxnChg chg="add mod">
          <ac:chgData name="Anthony,Krysta" userId="9244f7b8-c8dd-42c9-82f4-0cc36500d639" providerId="ADAL" clId="{415A65D4-1D03-424D-BD24-A7C04A84772C}" dt="2021-11-22T19:33:29.600" v="458" actId="14100"/>
          <ac:cxnSpMkLst>
            <pc:docMk/>
            <pc:sldMk cId="3013332799" sldId="2146847675"/>
            <ac:cxnSpMk id="82" creationId="{EE6C94A6-7CC8-4792-951F-89F20BF2F009}"/>
          </ac:cxnSpMkLst>
        </pc:cxnChg>
      </pc:sldChg>
      <pc:sldChg chg="modSp add mod">
        <pc:chgData name="Anthony,Krysta" userId="9244f7b8-c8dd-42c9-82f4-0cc36500d639" providerId="ADAL" clId="{415A65D4-1D03-424D-BD24-A7C04A84772C}" dt="2021-11-22T19:56:49.457" v="840" actId="20577"/>
        <pc:sldMkLst>
          <pc:docMk/>
          <pc:sldMk cId="883052645" sldId="2146847676"/>
        </pc:sldMkLst>
        <pc:spChg chg="mod">
          <ac:chgData name="Anthony,Krysta" userId="9244f7b8-c8dd-42c9-82f4-0cc36500d639" providerId="ADAL" clId="{415A65D4-1D03-424D-BD24-A7C04A84772C}" dt="2021-11-18T19:15:35.366" v="96" actId="20577"/>
          <ac:spMkLst>
            <pc:docMk/>
            <pc:sldMk cId="883052645" sldId="2146847676"/>
            <ac:spMk id="2" creationId="{00000000-0000-0000-0000-000000000000}"/>
          </ac:spMkLst>
        </pc:spChg>
        <pc:spChg chg="mod">
          <ac:chgData name="Anthony,Krysta" userId="9244f7b8-c8dd-42c9-82f4-0cc36500d639" providerId="ADAL" clId="{415A65D4-1D03-424D-BD24-A7C04A84772C}" dt="2021-11-22T19:56:49.457" v="840" actId="20577"/>
          <ac:spMkLst>
            <pc:docMk/>
            <pc:sldMk cId="883052645" sldId="2146847676"/>
            <ac:spMk id="7" creationId="{8CC6A955-DC75-4883-BD7A-4FF83101B888}"/>
          </ac:spMkLst>
        </pc:spChg>
      </pc:sldChg>
      <pc:sldChg chg="addSp modSp add mod">
        <pc:chgData name="Anthony,Krysta" userId="9244f7b8-c8dd-42c9-82f4-0cc36500d639" providerId="ADAL" clId="{415A65D4-1D03-424D-BD24-A7C04A84772C}" dt="2021-11-22T20:02:02.660" v="842" actId="166"/>
        <pc:sldMkLst>
          <pc:docMk/>
          <pc:sldMk cId="3428675465" sldId="2146847677"/>
        </pc:sldMkLst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0" creationId="{DF1911BA-07CC-4E8D-A8C8-32CDE93FCBFE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1" creationId="{9D9D1EB7-8E8F-4C16-84A9-E8AB0A5BF5C1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2" creationId="{BEBA8B6B-E5E9-498D-9C77-C0B774E5EA68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3" creationId="{E1E2FA65-A34D-4B4A-AB15-4E19EA8FE01C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4" creationId="{D762EEAF-627E-4C17-B4DA-20A3ECC39C59}"/>
          </ac:spMkLst>
        </pc:spChg>
        <pc:spChg chg="add mod">
          <ac:chgData name="Anthony,Krysta" userId="9244f7b8-c8dd-42c9-82f4-0cc36500d639" providerId="ADAL" clId="{415A65D4-1D03-424D-BD24-A7C04A84772C}" dt="2021-11-22T19:47:39.654" v="650"/>
          <ac:spMkLst>
            <pc:docMk/>
            <pc:sldMk cId="3428675465" sldId="2146847677"/>
            <ac:spMk id="75" creationId="{451DC8D7-EE22-4214-9A62-9AB42BB24744}"/>
          </ac:spMkLst>
        </pc:spChg>
        <pc:spChg chg="mod">
          <ac:chgData name="Anthony,Krysta" userId="9244f7b8-c8dd-42c9-82f4-0cc36500d639" providerId="ADAL" clId="{415A65D4-1D03-424D-BD24-A7C04A84772C}" dt="2021-11-22T19:46:50.253" v="645" actId="20577"/>
          <ac:spMkLst>
            <pc:docMk/>
            <pc:sldMk cId="3428675465" sldId="2146847677"/>
            <ac:spMk id="149" creationId="{22B7C3B6-B297-4FF9-AC27-80EF42320CAE}"/>
          </ac:spMkLst>
        </pc:spChg>
        <pc:spChg chg="ord">
          <ac:chgData name="Anthony,Krysta" userId="9244f7b8-c8dd-42c9-82f4-0cc36500d639" providerId="ADAL" clId="{415A65D4-1D03-424D-BD24-A7C04A84772C}" dt="2021-11-22T20:02:02.660" v="842" actId="166"/>
          <ac:spMkLst>
            <pc:docMk/>
            <pc:sldMk cId="3428675465" sldId="2146847677"/>
            <ac:spMk id="178" creationId="{E1468106-E4D9-47D0-8B9E-7AF8E4BA7109}"/>
          </ac:spMkLst>
        </pc:spChg>
        <pc:spChg chg="mod">
          <ac:chgData name="Anthony,Krysta" userId="9244f7b8-c8dd-42c9-82f4-0cc36500d639" providerId="ADAL" clId="{415A65D4-1D03-424D-BD24-A7C04A84772C}" dt="2021-11-22T19:48:59.464" v="654" actId="207"/>
          <ac:spMkLst>
            <pc:docMk/>
            <pc:sldMk cId="3428675465" sldId="2146847677"/>
            <ac:spMk id="197" creationId="{C4EE1FCE-8729-4198-9757-1101E905B31E}"/>
          </ac:spMkLst>
        </pc:spChg>
      </pc:sldChg>
    </pc:docChg>
  </pc:docChgLst>
  <pc:docChgLst>
    <pc:chgData name="aditya.basheer@state.ma.us" userId="S::urn:spo:guest#aditya.basheer@state.ma.us::" providerId="AD" clId="Web-{58D9F8F8-77CE-CD9E-43B7-14E380CDF385}"/>
    <pc:docChg chg="modSld">
      <pc:chgData name="aditya.basheer@state.ma.us" userId="S::urn:spo:guest#aditya.basheer@state.ma.us::" providerId="AD" clId="Web-{58D9F8F8-77CE-CD9E-43B7-14E380CDF385}" dt="2021-11-18T20:10:17.541" v="100"/>
      <pc:docMkLst>
        <pc:docMk/>
      </pc:docMkLst>
      <pc:sldChg chg="addSp delSp modSp">
        <pc:chgData name="aditya.basheer@state.ma.us" userId="S::urn:spo:guest#aditya.basheer@state.ma.us::" providerId="AD" clId="Web-{58D9F8F8-77CE-CD9E-43B7-14E380CDF385}" dt="2021-11-18T20:10:14.588" v="55"/>
        <pc:sldMkLst>
          <pc:docMk/>
          <pc:sldMk cId="1181283028" sldId="2146847660"/>
        </pc:sldMkLst>
        <pc:picChg chg="add del mod">
          <ac:chgData name="aditya.basheer@state.ma.us" userId="S::urn:spo:guest#aditya.basheer@state.ma.us::" providerId="AD" clId="Web-{58D9F8F8-77CE-CD9E-43B7-14E380CDF385}" dt="2021-11-18T20:10:14.588" v="55"/>
          <ac:picMkLst>
            <pc:docMk/>
            <pc:sldMk cId="1181283028" sldId="2146847660"/>
            <ac:picMk id="3" creationId="{547ECEDC-02E4-4EFF-9B0A-27726B32F37A}"/>
          </ac:picMkLst>
        </pc:picChg>
      </pc:sldChg>
      <pc:sldChg chg="addSp delSp modSp">
        <pc:chgData name="aditya.basheer@state.ma.us" userId="S::urn:spo:guest#aditya.basheer@state.ma.us::" providerId="AD" clId="Web-{58D9F8F8-77CE-CD9E-43B7-14E380CDF385}" dt="2021-11-18T20:10:17.541" v="100"/>
        <pc:sldMkLst>
          <pc:docMk/>
          <pc:sldMk cId="1713831338" sldId="2146847673"/>
        </pc:sldMkLst>
        <pc:spChg chg="add del">
          <ac:chgData name="aditya.basheer@state.ma.us" userId="S::urn:spo:guest#aditya.basheer@state.ma.us::" providerId="AD" clId="Web-{58D9F8F8-77CE-CD9E-43B7-14E380CDF385}" dt="2021-11-18T20:10:17.510" v="57"/>
          <ac:spMkLst>
            <pc:docMk/>
            <pc:sldMk cId="1713831338" sldId="2146847673"/>
            <ac:spMk id="3" creationId="{1FAB37FA-A414-4543-B788-93A1F46F824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8"/>
          <ac:spMkLst>
            <pc:docMk/>
            <pc:sldMk cId="1713831338" sldId="2146847673"/>
            <ac:spMk id="4" creationId="{D94D46F3-0C22-4D2E-9196-FF49AE0B79DA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9"/>
          <ac:spMkLst>
            <pc:docMk/>
            <pc:sldMk cId="1713831338" sldId="2146847673"/>
            <ac:spMk id="5" creationId="{09DD572C-4598-4FF5-88A4-F34509DFEA89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60"/>
          <ac:spMkLst>
            <pc:docMk/>
            <pc:sldMk cId="1713831338" sldId="2146847673"/>
            <ac:spMk id="6" creationId="{872920A5-0EDB-43D5-A5FD-E118D37AD367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61"/>
          <ac:spMkLst>
            <pc:docMk/>
            <pc:sldMk cId="1713831338" sldId="2146847673"/>
            <ac:spMk id="7" creationId="{A259E955-89A1-421F-9A73-B379C3978388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65"/>
          <ac:spMkLst>
            <pc:docMk/>
            <pc:sldMk cId="1713831338" sldId="2146847673"/>
            <ac:spMk id="20" creationId="{6E53C7FC-9E04-4278-A92E-B3B96980A698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69"/>
          <ac:spMkLst>
            <pc:docMk/>
            <pc:sldMk cId="1713831338" sldId="2146847673"/>
            <ac:spMk id="30" creationId="{A58318ED-BBF0-4E87-B184-BD23B842707F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9"/>
          <ac:spMkLst>
            <pc:docMk/>
            <pc:sldMk cId="1713831338" sldId="2146847673"/>
            <ac:spMk id="31" creationId="{612A61FD-388C-4E39-8217-44893D6C78DF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100"/>
          <ac:spMkLst>
            <pc:docMk/>
            <pc:sldMk cId="1713831338" sldId="2146847673"/>
            <ac:spMk id="32" creationId="{F14C21CD-ACC2-40F8-9D66-E8363287470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0"/>
          <ac:spMkLst>
            <pc:docMk/>
            <pc:sldMk cId="1713831338" sldId="2146847673"/>
            <ac:spMk id="33" creationId="{D8FBA0A7-AD8E-46A6-B769-732D2EF0D415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1"/>
          <ac:spMkLst>
            <pc:docMk/>
            <pc:sldMk cId="1713831338" sldId="2146847673"/>
            <ac:spMk id="34" creationId="{02CA3C13-668E-439B-AB22-BEFF95B6ECFC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3"/>
          <ac:spMkLst>
            <pc:docMk/>
            <pc:sldMk cId="1713831338" sldId="2146847673"/>
            <ac:spMk id="36" creationId="{7D03A3BE-7F20-4404-BB4C-65E320F1143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4"/>
          <ac:spMkLst>
            <pc:docMk/>
            <pc:sldMk cId="1713831338" sldId="2146847673"/>
            <ac:spMk id="37" creationId="{6DAAD2BA-028D-4D15-AF82-3F617BBC2ED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6"/>
          <ac:spMkLst>
            <pc:docMk/>
            <pc:sldMk cId="1713831338" sldId="2146847673"/>
            <ac:spMk id="39" creationId="{8A8C63F0-15F8-4824-AC65-51CCB375A040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26" v="79"/>
          <ac:spMkLst>
            <pc:docMk/>
            <pc:sldMk cId="1713831338" sldId="2146847673"/>
            <ac:spMk id="44" creationId="{426A3E9A-0D59-49A4-AF95-FAD0DA40E8A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2"/>
          <ac:spMkLst>
            <pc:docMk/>
            <pc:sldMk cId="1713831338" sldId="2146847673"/>
            <ac:spMk id="47" creationId="{058E8B42-6AAC-4AF8-A054-158E6B0E3484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7"/>
          <ac:spMkLst>
            <pc:docMk/>
            <pc:sldMk cId="1713831338" sldId="2146847673"/>
            <ac:spMk id="58" creationId="{341B1DAB-4EAA-4891-9F62-230CD3CB8C3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8"/>
          <ac:spMkLst>
            <pc:docMk/>
            <pc:sldMk cId="1713831338" sldId="2146847673"/>
            <ac:spMk id="59" creationId="{E9B29413-A111-4FCC-87AB-EDC39E95212D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89"/>
          <ac:spMkLst>
            <pc:docMk/>
            <pc:sldMk cId="1713831338" sldId="2146847673"/>
            <ac:spMk id="60" creationId="{7ED41AA4-FBC5-4FC0-B635-252949DDABB0}"/>
          </ac:spMkLst>
        </pc:spChg>
        <pc:spChg chg="add del mod">
          <ac:chgData name="aditya.basheer@state.ma.us" userId="S::urn:spo:guest#aditya.basheer@state.ma.us::" providerId="AD" clId="Web-{58D9F8F8-77CE-CD9E-43B7-14E380CDF385}" dt="2021-11-18T20:10:17.510" v="56"/>
          <ac:spMkLst>
            <pc:docMk/>
            <pc:sldMk cId="1713831338" sldId="2146847673"/>
            <ac:spMk id="63" creationId="{FE5E7AA4-8C03-456E-BAE1-8C76A9123B7C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3"/>
          <ac:spMkLst>
            <pc:docMk/>
            <pc:sldMk cId="1713831338" sldId="2146847673"/>
            <ac:spMk id="70" creationId="{57ECFF0A-2895-4381-99E1-E0123A979EDB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4"/>
          <ac:spMkLst>
            <pc:docMk/>
            <pc:sldMk cId="1713831338" sldId="2146847673"/>
            <ac:spMk id="71" creationId="{51884D05-2F54-4B3A-95FD-0779C06EDC82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5"/>
          <ac:spMkLst>
            <pc:docMk/>
            <pc:sldMk cId="1713831338" sldId="2146847673"/>
            <ac:spMk id="72" creationId="{A1932B40-76C2-48D9-BE0C-200BD4B56236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41" v="96"/>
          <ac:spMkLst>
            <pc:docMk/>
            <pc:sldMk cId="1713831338" sldId="2146847673"/>
            <ac:spMk id="73" creationId="{90940768-6A27-4824-8D1F-A778031F5B81}"/>
          </ac:spMkLst>
        </pc:spChg>
        <pc:spChg chg="add del">
          <ac:chgData name="aditya.basheer@state.ma.us" userId="S::urn:spo:guest#aditya.basheer@state.ma.us::" providerId="AD" clId="Web-{58D9F8F8-77CE-CD9E-43B7-14E380CDF385}" dt="2021-11-18T20:10:17.510" v="56"/>
          <ac:spMkLst>
            <pc:docMk/>
            <pc:sldMk cId="1713831338" sldId="2146847673"/>
            <ac:spMk id="76" creationId="{0687C99B-3561-4CAD-8B07-C35D5C3DF29B}"/>
          </ac:spMkLst>
        </pc:spChg>
        <pc:grpChg chg="add del">
          <ac:chgData name="aditya.basheer@state.ma.us" userId="S::urn:spo:guest#aditya.basheer@state.ma.us::" providerId="AD" clId="Web-{58D9F8F8-77CE-CD9E-43B7-14E380CDF385}" dt="2021-11-18T20:10:17.526" v="63"/>
          <ac:grpSpMkLst>
            <pc:docMk/>
            <pc:sldMk cId="1713831338" sldId="2146847673"/>
            <ac:grpSpMk id="9" creationId="{D91495F7-1A01-4931-9120-8CAD537F69DE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4"/>
          <ac:grpSpMkLst>
            <pc:docMk/>
            <pc:sldMk cId="1713831338" sldId="2146847673"/>
            <ac:grpSpMk id="17" creationId="{761E61C8-34C7-41FE-A781-9FE1041DBA9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6"/>
          <ac:grpSpMkLst>
            <pc:docMk/>
            <pc:sldMk cId="1713831338" sldId="2146847673"/>
            <ac:grpSpMk id="21" creationId="{95F07D45-F013-4763-B1EE-22496897E6D3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7"/>
          <ac:grpSpMkLst>
            <pc:docMk/>
            <pc:sldMk cId="1713831338" sldId="2146847673"/>
            <ac:grpSpMk id="24" creationId="{98AB1286-9BB1-4EDF-A6B8-0189DD0D42E8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68"/>
          <ac:grpSpMkLst>
            <pc:docMk/>
            <pc:sldMk cId="1713831338" sldId="2146847673"/>
            <ac:grpSpMk id="27" creationId="{03983C5E-7104-4402-9927-66B681E40A2E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26" v="78"/>
          <ac:grpSpMkLst>
            <pc:docMk/>
            <pc:sldMk cId="1713831338" sldId="2146847673"/>
            <ac:grpSpMk id="41" creationId="{7E6B7593-CC84-47BF-818C-AD3488BDD53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85"/>
          <ac:grpSpMkLst>
            <pc:docMk/>
            <pc:sldMk cId="1713831338" sldId="2146847673"/>
            <ac:grpSpMk id="50" creationId="{8D9B38D4-30B8-462F-8262-15D01682D28D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86"/>
          <ac:grpSpMkLst>
            <pc:docMk/>
            <pc:sldMk cId="1713831338" sldId="2146847673"/>
            <ac:grpSpMk id="54" creationId="{1DD381CA-F045-4CC8-9245-4E8F69BB5845}"/>
          </ac:grpSpMkLst>
        </pc:grpChg>
        <pc:grpChg chg="add del">
          <ac:chgData name="aditya.basheer@state.ma.us" userId="S::urn:spo:guest#aditya.basheer@state.ma.us::" providerId="AD" clId="Web-{58D9F8F8-77CE-CD9E-43B7-14E380CDF385}" dt="2021-11-18T20:10:17.541" v="91"/>
          <ac:grpSpMkLst>
            <pc:docMk/>
            <pc:sldMk cId="1713831338" sldId="2146847673"/>
            <ac:grpSpMk id="66" creationId="{DD8E81C1-21C1-4996-805A-C18AF34528AD}"/>
          </ac:grpSpMkLst>
        </pc:grpChg>
        <pc:graphicFrameChg chg="add del">
          <ac:chgData name="aditya.basheer@state.ma.us" userId="S::urn:spo:guest#aditya.basheer@state.ma.us::" providerId="AD" clId="Web-{58D9F8F8-77CE-CD9E-43B7-14E380CDF385}" dt="2021-11-18T20:10:17.526" v="62"/>
          <ac:graphicFrameMkLst>
            <pc:docMk/>
            <pc:sldMk cId="1713831338" sldId="2146847673"/>
            <ac:graphicFrameMk id="8" creationId="{F4667FE0-BCC4-4256-9EF5-F7EBD094C9E4}"/>
          </ac:graphicFrameMkLst>
        </pc:graphicFrameChg>
        <pc:picChg chg="add del mod">
          <ac:chgData name="aditya.basheer@state.ma.us" userId="S::urn:spo:guest#aditya.basheer@state.ma.us::" providerId="AD" clId="Web-{58D9F8F8-77CE-CD9E-43B7-14E380CDF385}" dt="2021-11-18T20:10:11.229" v="54"/>
          <ac:picMkLst>
            <pc:docMk/>
            <pc:sldMk cId="1713831338" sldId="2146847673"/>
            <ac:picMk id="64" creationId="{C8908F77-E084-4187-A973-39D169D36FB7}"/>
          </ac:picMkLst>
        </pc:picChg>
        <pc:cxnChg chg="add del">
          <ac:chgData name="aditya.basheer@state.ma.us" userId="S::urn:spo:guest#aditya.basheer@state.ma.us::" providerId="AD" clId="Web-{58D9F8F8-77CE-CD9E-43B7-14E380CDF385}" dt="2021-11-18T20:10:17.526" v="72"/>
          <ac:cxnSpMkLst>
            <pc:docMk/>
            <pc:sldMk cId="1713831338" sldId="2146847673"/>
            <ac:cxnSpMk id="35" creationId="{A1454356-090B-4DE3-9F1E-7B8F00F57380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26" v="75"/>
          <ac:cxnSpMkLst>
            <pc:docMk/>
            <pc:sldMk cId="1713831338" sldId="2146847673"/>
            <ac:cxnSpMk id="38" creationId="{1C965197-A5A7-4A5F-A0AF-0C536BD7BBDA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26" v="77"/>
          <ac:cxnSpMkLst>
            <pc:docMk/>
            <pc:sldMk cId="1713831338" sldId="2146847673"/>
            <ac:cxnSpMk id="40" creationId="{BDF18E5F-C5B7-4694-ADBF-965E1AB9AD16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80"/>
          <ac:cxnSpMkLst>
            <pc:docMk/>
            <pc:sldMk cId="1713831338" sldId="2146847673"/>
            <ac:cxnSpMk id="45" creationId="{F8792177-09EB-47A2-97F3-E8390CEBC273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81"/>
          <ac:cxnSpMkLst>
            <pc:docMk/>
            <pc:sldMk cId="1713831338" sldId="2146847673"/>
            <ac:cxnSpMk id="46" creationId="{26EFC456-03DC-46D2-9354-7B4B80FDC7E1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86"/>
          <ac:cxnSpMkLst>
            <pc:docMk/>
            <pc:sldMk cId="1713831338" sldId="2146847673"/>
            <ac:cxnSpMk id="48" creationId="{F702CFDA-D835-4778-A1A5-8A70020351FB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86"/>
          <ac:cxnSpMkLst>
            <pc:docMk/>
            <pc:sldMk cId="1713831338" sldId="2146847673"/>
            <ac:cxnSpMk id="49" creationId="{4855E991-D88C-4C93-B615-3BC5869591EB}"/>
          </ac:cxnSpMkLst>
        </pc:cxnChg>
        <pc:cxnChg chg="add del">
          <ac:chgData name="aditya.basheer@state.ma.us" userId="S::urn:spo:guest#aditya.basheer@state.ma.us::" providerId="AD" clId="Web-{58D9F8F8-77CE-CD9E-43B7-14E380CDF385}" dt="2021-11-18T20:10:17.541" v="90"/>
          <ac:cxnSpMkLst>
            <pc:docMk/>
            <pc:sldMk cId="1713831338" sldId="2146847673"/>
            <ac:cxnSpMk id="61" creationId="{62E9E44B-0FD4-47CD-BA74-E447815C95BB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2"/>
          <ac:cxnSpMkLst>
            <pc:docMk/>
            <pc:sldMk cId="1713831338" sldId="2146847673"/>
            <ac:cxnSpMk id="69" creationId="{DD0BDED4-0447-431A-832F-01B5A96F9BE6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7"/>
          <ac:cxnSpMkLst>
            <pc:docMk/>
            <pc:sldMk cId="1713831338" sldId="2146847673"/>
            <ac:cxnSpMk id="74" creationId="{36C2AE38-8474-46DC-AE76-F77E512238F6}"/>
          </ac:cxnSpMkLst>
        </pc:cxnChg>
        <pc:cxnChg chg="add del mod">
          <ac:chgData name="aditya.basheer@state.ma.us" userId="S::urn:spo:guest#aditya.basheer@state.ma.us::" providerId="AD" clId="Web-{58D9F8F8-77CE-CD9E-43B7-14E380CDF385}" dt="2021-11-18T20:10:17.541" v="98"/>
          <ac:cxnSpMkLst>
            <pc:docMk/>
            <pc:sldMk cId="1713831338" sldId="2146847673"/>
            <ac:cxnSpMk id="75" creationId="{4D5BC4AF-37C3-48D1-8047-2B81F99A9337}"/>
          </ac:cxnSpMkLst>
        </pc:cxnChg>
      </pc:sldChg>
    </pc:docChg>
  </pc:docChgLst>
  <pc:docChgLst>
    <pc:chgData name="Anthony,Krysta" userId="9244f7b8-c8dd-42c9-82f4-0cc36500d639" providerId="ADAL" clId="{F9FB8209-12C1-4726-A010-40D02BA18F1D}"/>
    <pc:docChg chg="undo redo custSel addSld delSld modSld">
      <pc:chgData name="Anthony,Krysta" userId="9244f7b8-c8dd-42c9-82f4-0cc36500d639" providerId="ADAL" clId="{F9FB8209-12C1-4726-A010-40D02BA18F1D}" dt="2022-02-02T23:36:40.418" v="3329"/>
      <pc:docMkLst>
        <pc:docMk/>
      </pc:docMkLst>
      <pc:sldChg chg="modSp mod">
        <pc:chgData name="Anthony,Krysta" userId="9244f7b8-c8dd-42c9-82f4-0cc36500d639" providerId="ADAL" clId="{F9FB8209-12C1-4726-A010-40D02BA18F1D}" dt="2022-01-31T21:49:18.494" v="34" actId="20577"/>
        <pc:sldMkLst>
          <pc:docMk/>
          <pc:sldMk cId="1922715581" sldId="2141411663"/>
        </pc:sldMkLst>
        <pc:spChg chg="mod">
          <ac:chgData name="Anthony,Krysta" userId="9244f7b8-c8dd-42c9-82f4-0cc36500d639" providerId="ADAL" clId="{F9FB8209-12C1-4726-A010-40D02BA18F1D}" dt="2022-01-31T21:49:18.494" v="34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modSp del mod">
        <pc:chgData name="Anthony,Krysta" userId="9244f7b8-c8dd-42c9-82f4-0cc36500d639" providerId="ADAL" clId="{F9FB8209-12C1-4726-A010-40D02BA18F1D}" dt="2022-01-31T23:03:22.569" v="2112" actId="47"/>
        <pc:sldMkLst>
          <pc:docMk/>
          <pc:sldMk cId="3158526561" sldId="2146847681"/>
        </pc:sldMkLst>
        <pc:spChg chg="mod">
          <ac:chgData name="Anthony,Krysta" userId="9244f7b8-c8dd-42c9-82f4-0cc36500d639" providerId="ADAL" clId="{F9FB8209-12C1-4726-A010-40D02BA18F1D}" dt="2022-01-31T22:56:55.565" v="1263" actId="20577"/>
          <ac:spMkLst>
            <pc:docMk/>
            <pc:sldMk cId="3158526561" sldId="2146847681"/>
            <ac:spMk id="2" creationId="{A0BF0439-4F6C-4F92-B93A-5A5E46434B53}"/>
          </ac:spMkLst>
        </pc:spChg>
      </pc:sldChg>
      <pc:sldChg chg="del">
        <pc:chgData name="Anthony,Krysta" userId="9244f7b8-c8dd-42c9-82f4-0cc36500d639" providerId="ADAL" clId="{F9FB8209-12C1-4726-A010-40D02BA18F1D}" dt="2022-01-31T20:23:28.880" v="0" actId="47"/>
        <pc:sldMkLst>
          <pc:docMk/>
          <pc:sldMk cId="1292170880" sldId="2146847682"/>
        </pc:sldMkLst>
      </pc:sldChg>
      <pc:sldChg chg="modSp del mod">
        <pc:chgData name="Anthony,Krysta" userId="9244f7b8-c8dd-42c9-82f4-0cc36500d639" providerId="ADAL" clId="{F9FB8209-12C1-4726-A010-40D02BA18F1D}" dt="2022-01-31T22:53:42.880" v="1214" actId="47"/>
        <pc:sldMkLst>
          <pc:docMk/>
          <pc:sldMk cId="2466140407" sldId="2146847683"/>
        </pc:sldMkLst>
        <pc:spChg chg="mod">
          <ac:chgData name="Anthony,Krysta" userId="9244f7b8-c8dd-42c9-82f4-0cc36500d639" providerId="ADAL" clId="{F9FB8209-12C1-4726-A010-40D02BA18F1D}" dt="2022-01-31T22:04:54.480" v="251" actId="14100"/>
          <ac:spMkLst>
            <pc:docMk/>
            <pc:sldMk cId="2466140407" sldId="2146847683"/>
            <ac:spMk id="9" creationId="{C8D1E1B8-61C4-45C5-ADE8-32C378E4EBD5}"/>
          </ac:spMkLst>
        </pc:spChg>
      </pc:sldChg>
      <pc:sldChg chg="addSp delSp modSp add mod delCm modCm">
        <pc:chgData name="Anthony,Krysta" userId="9244f7b8-c8dd-42c9-82f4-0cc36500d639" providerId="ADAL" clId="{F9FB8209-12C1-4726-A010-40D02BA18F1D}" dt="2022-02-02T23:36:40.418" v="3329"/>
        <pc:sldMkLst>
          <pc:docMk/>
          <pc:sldMk cId="740477672" sldId="2146847684"/>
        </pc:sldMkLst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6" creationId="{E6A4DC2D-EEE9-4F7B-871D-A0577D733A29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7" creationId="{D7753921-B41E-4E6E-8972-588FDE81CC76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8" creationId="{B330EDFE-C757-49C8-B84E-7D1F66DB7FE3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9" creationId="{C8D1E1B8-61C4-45C5-ADE8-32C378E4EBD5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0" creationId="{D26A2416-3ADB-4A01-8DA4-1704D605AB83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1" creationId="{92F14338-3417-4EFB-9BF8-ADD290FCD759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2" creationId="{CE36C445-DD09-4B46-8FCE-720C090D57C1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3" creationId="{E8BCB9AD-091A-41DF-ACB4-B652AA59AC50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5" creationId="{57A43774-1610-4D53-949D-9640F38FD558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16" creationId="{F6DC2B38-A22C-4731-AC28-AE7F0C8503A1}"/>
          </ac:spMkLst>
        </pc:spChg>
        <pc:spChg chg="add del mod">
          <ac:chgData name="Anthony,Krysta" userId="9244f7b8-c8dd-42c9-82f4-0cc36500d639" providerId="ADAL" clId="{F9FB8209-12C1-4726-A010-40D02BA18F1D}" dt="2022-02-02T19:47:45.805" v="3034" actId="478"/>
          <ac:spMkLst>
            <pc:docMk/>
            <pc:sldMk cId="740477672" sldId="2146847684"/>
            <ac:spMk id="24" creationId="{121E377E-B959-4F87-B90C-B7A56A9E795F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4" creationId="{B621E4CB-4A4F-46B3-8E4A-821634C8A1AA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5" creationId="{E9E5FCC4-F7F9-4294-8D99-F84744DA75DB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6" creationId="{5DA93ADA-6CBB-49C1-9771-B9963483BAF6}"/>
          </ac:spMkLst>
        </pc:spChg>
        <pc:spChg chg="del">
          <ac:chgData name="Anthony,Krysta" userId="9244f7b8-c8dd-42c9-82f4-0cc36500d639" providerId="ADAL" clId="{F9FB8209-12C1-4726-A010-40D02BA18F1D}" dt="2022-01-31T21:49:28.275" v="36" actId="478"/>
          <ac:spMkLst>
            <pc:docMk/>
            <pc:sldMk cId="740477672" sldId="2146847684"/>
            <ac:spMk id="27" creationId="{4B332308-BE36-4F59-B5C8-432DB02B9B8B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28" creationId="{2CC1FE2F-5C74-4095-953C-5C1C07E15946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29" creationId="{F5668F76-8754-460D-89AE-84D2B314E3DB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0" creationId="{208A3595-D31A-4C42-8807-29C2C2FD9D10}"/>
          </ac:spMkLst>
        </pc:spChg>
        <pc:spChg chg="add 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1" creationId="{32A2DC0E-04C6-489B-9584-F3D26D500FA4}"/>
          </ac:spMkLst>
        </pc:spChg>
        <pc:spChg chg="add del mod topLvl">
          <ac:chgData name="Anthony,Krysta" userId="9244f7b8-c8dd-42c9-82f4-0cc36500d639" providerId="ADAL" clId="{F9FB8209-12C1-4726-A010-40D02BA18F1D}" dt="2022-01-31T21:58:49.879" v="44" actId="478"/>
          <ac:spMkLst>
            <pc:docMk/>
            <pc:sldMk cId="740477672" sldId="2146847684"/>
            <ac:spMk id="32" creationId="{384D049F-76D6-43F5-BFB5-F24EE24DAC08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4" creationId="{8776D3E3-8598-439E-B85A-29A05A94758F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5" creationId="{267AB975-4268-4494-85B6-9ADBCA4170CC}"/>
          </ac:spMkLst>
        </pc:spChg>
        <pc:spChg chg="mod topLvl">
          <ac:chgData name="Anthony,Krysta" userId="9244f7b8-c8dd-42c9-82f4-0cc36500d639" providerId="ADAL" clId="{F9FB8209-12C1-4726-A010-40D02BA18F1D}" dt="2022-01-31T21:58:46.378" v="43" actId="165"/>
          <ac:spMkLst>
            <pc:docMk/>
            <pc:sldMk cId="740477672" sldId="2146847684"/>
            <ac:spMk id="36" creationId="{2804D483-CCD8-4C60-A62E-6F796D60824B}"/>
          </ac:spMkLst>
        </pc:spChg>
        <pc:spChg chg="add del mod topLvl">
          <ac:chgData name="Anthony,Krysta" userId="9244f7b8-c8dd-42c9-82f4-0cc36500d639" providerId="ADAL" clId="{F9FB8209-12C1-4726-A010-40D02BA18F1D}" dt="2022-01-31T22:08:25.564" v="597" actId="478"/>
          <ac:spMkLst>
            <pc:docMk/>
            <pc:sldMk cId="740477672" sldId="2146847684"/>
            <ac:spMk id="37" creationId="{D260E2DF-4189-4A93-937F-1D4115E4F1B3}"/>
          </ac:spMkLst>
        </pc:spChg>
        <pc:spChg chg="add del mod topLvl">
          <ac:chgData name="Anthony,Krysta" userId="9244f7b8-c8dd-42c9-82f4-0cc36500d639" providerId="ADAL" clId="{F9FB8209-12C1-4726-A010-40D02BA18F1D}" dt="2022-01-31T22:08:00.600" v="588" actId="478"/>
          <ac:spMkLst>
            <pc:docMk/>
            <pc:sldMk cId="740477672" sldId="2146847684"/>
            <ac:spMk id="38" creationId="{A321DD8C-AB27-49BE-9D60-EEAD3255CB4C}"/>
          </ac:spMkLst>
        </pc:spChg>
        <pc:spChg chg="add del mod topLvl">
          <ac:chgData name="Anthony,Krysta" userId="9244f7b8-c8dd-42c9-82f4-0cc36500d639" providerId="ADAL" clId="{F9FB8209-12C1-4726-A010-40D02BA18F1D}" dt="2022-01-31T22:08:37.986" v="601" actId="478"/>
          <ac:spMkLst>
            <pc:docMk/>
            <pc:sldMk cId="740477672" sldId="2146847684"/>
            <ac:spMk id="39" creationId="{A64A602C-1A49-4E56-BA61-62FB881AD93D}"/>
          </ac:spMkLst>
        </pc:spChg>
        <pc:spChg chg="add mod topLvl">
          <ac:chgData name="Anthony,Krysta" userId="9244f7b8-c8dd-42c9-82f4-0cc36500d639" providerId="ADAL" clId="{F9FB8209-12C1-4726-A010-40D02BA18F1D}" dt="2022-02-02T04:19:44.652" v="2443" actId="20577"/>
          <ac:spMkLst>
            <pc:docMk/>
            <pc:sldMk cId="740477672" sldId="2146847684"/>
            <ac:spMk id="40" creationId="{F12E97CD-5E40-4BCC-A631-C655652868CE}"/>
          </ac:spMkLst>
        </pc:spChg>
        <pc:spChg chg="add mod topLvl">
          <ac:chgData name="Anthony,Krysta" userId="9244f7b8-c8dd-42c9-82f4-0cc36500d639" providerId="ADAL" clId="{F9FB8209-12C1-4726-A010-40D02BA18F1D}" dt="2022-02-02T04:20:32.273" v="2447" actId="20577"/>
          <ac:spMkLst>
            <pc:docMk/>
            <pc:sldMk cId="740477672" sldId="2146847684"/>
            <ac:spMk id="41" creationId="{92543A14-FBB2-463A-85E0-AB3162620C5B}"/>
          </ac:spMkLst>
        </pc:spChg>
        <pc:spChg chg="add mod topLvl">
          <ac:chgData name="Anthony,Krysta" userId="9244f7b8-c8dd-42c9-82f4-0cc36500d639" providerId="ADAL" clId="{F9FB8209-12C1-4726-A010-40D02BA18F1D}" dt="2022-02-02T19:47:43.232" v="3033" actId="20577"/>
          <ac:spMkLst>
            <pc:docMk/>
            <pc:sldMk cId="740477672" sldId="2146847684"/>
            <ac:spMk id="42" creationId="{5FF36391-FC8C-4253-AD5F-C2609DCEBC67}"/>
          </ac:spMkLst>
        </pc:spChg>
        <pc:spChg chg="add mod topLvl">
          <ac:chgData name="Anthony,Krysta" userId="9244f7b8-c8dd-42c9-82f4-0cc36500d639" providerId="ADAL" clId="{F9FB8209-12C1-4726-A010-40D02BA18F1D}" dt="2022-02-02T19:48:48.871" v="3045" actId="20577"/>
          <ac:spMkLst>
            <pc:docMk/>
            <pc:sldMk cId="740477672" sldId="2146847684"/>
            <ac:spMk id="43" creationId="{002472DD-3DB4-43CE-918C-9B6C9BCBD3FF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7" creationId="{3D0B992D-E31C-4737-87E6-75D30D80AE49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8" creationId="{56E245BC-5382-47FD-B3EA-85B0A8D2BBD0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49" creationId="{5BD7BE9D-6555-4DD2-A827-D4D8A44FB33C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0" creationId="{A4790585-8106-4826-9719-5A1FE31895D9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1" creationId="{D8920DE6-91D5-4FE5-98F3-50847ACC0B2C}"/>
          </ac:spMkLst>
        </pc:spChg>
        <pc:spChg chg="mod">
          <ac:chgData name="Anthony,Krysta" userId="9244f7b8-c8dd-42c9-82f4-0cc36500d639" providerId="ADAL" clId="{F9FB8209-12C1-4726-A010-40D02BA18F1D}" dt="2022-01-31T22:08:23.216" v="596" actId="207"/>
          <ac:spMkLst>
            <pc:docMk/>
            <pc:sldMk cId="740477672" sldId="2146847684"/>
            <ac:spMk id="52" creationId="{6E091E74-226A-491F-B3FD-9630B0D1C0CE}"/>
          </ac:spMkLst>
        </pc:spChg>
        <pc:spChg chg="add mod">
          <ac:chgData name="Anthony,Krysta" userId="9244f7b8-c8dd-42c9-82f4-0cc36500d639" providerId="ADAL" clId="{F9FB8209-12C1-4726-A010-40D02BA18F1D}" dt="2022-01-31T22:08:35.998" v="600" actId="207"/>
          <ac:spMkLst>
            <pc:docMk/>
            <pc:sldMk cId="740477672" sldId="2146847684"/>
            <ac:spMk id="53" creationId="{5A86D22D-DA6C-4C07-9F84-3245AA2E8C43}"/>
          </ac:spMkLst>
        </pc:spChg>
        <pc:spChg chg="add mod">
          <ac:chgData name="Anthony,Krysta" userId="9244f7b8-c8dd-42c9-82f4-0cc36500d639" providerId="ADAL" clId="{F9FB8209-12C1-4726-A010-40D02BA18F1D}" dt="2022-01-31T22:08:50.270" v="604" actId="207"/>
          <ac:spMkLst>
            <pc:docMk/>
            <pc:sldMk cId="740477672" sldId="2146847684"/>
            <ac:spMk id="54" creationId="{3C8C4B15-3259-4387-A9B2-1D972D250C9F}"/>
          </ac:spMkLst>
        </pc:spChg>
        <pc:grpChg chg="del">
          <ac:chgData name="Anthony,Krysta" userId="9244f7b8-c8dd-42c9-82f4-0cc36500d639" providerId="ADAL" clId="{F9FB8209-12C1-4726-A010-40D02BA18F1D}" dt="2022-01-31T21:49:28.275" v="36" actId="478"/>
          <ac:grpSpMkLst>
            <pc:docMk/>
            <pc:sldMk cId="740477672" sldId="2146847684"/>
            <ac:grpSpMk id="17" creationId="{2A30750D-4326-4B1C-9E1C-48E2C48D5C8D}"/>
          </ac:grpSpMkLst>
        </pc:grpChg>
        <pc:grpChg chg="add del mod topLvl">
          <ac:chgData name="Anthony,Krysta" userId="9244f7b8-c8dd-42c9-82f4-0cc36500d639" providerId="ADAL" clId="{F9FB8209-12C1-4726-A010-40D02BA18F1D}" dt="2022-01-31T22:08:17.782" v="594" actId="478"/>
          <ac:grpSpMkLst>
            <pc:docMk/>
            <pc:sldMk cId="740477672" sldId="2146847684"/>
            <ac:grpSpMk id="33" creationId="{74B50104-C9EF-4580-A6E5-69947ADBB48F}"/>
          </ac:grpSpMkLst>
        </pc:grpChg>
        <pc:grpChg chg="add del mod">
          <ac:chgData name="Anthony,Krysta" userId="9244f7b8-c8dd-42c9-82f4-0cc36500d639" providerId="ADAL" clId="{F9FB8209-12C1-4726-A010-40D02BA18F1D}" dt="2022-01-31T21:58:46.378" v="43" actId="165"/>
          <ac:grpSpMkLst>
            <pc:docMk/>
            <pc:sldMk cId="740477672" sldId="2146847684"/>
            <ac:grpSpMk id="44" creationId="{03D86B2B-7870-456A-B3EE-A88BA0B2BBA1}"/>
          </ac:grpSpMkLst>
        </pc:grpChg>
        <pc:grpChg chg="add mod">
          <ac:chgData name="Anthony,Krysta" userId="9244f7b8-c8dd-42c9-82f4-0cc36500d639" providerId="ADAL" clId="{F9FB8209-12C1-4726-A010-40D02BA18F1D}" dt="2022-01-31T22:08:23.216" v="596" actId="207"/>
          <ac:grpSpMkLst>
            <pc:docMk/>
            <pc:sldMk cId="740477672" sldId="2146847684"/>
            <ac:grpSpMk id="46" creationId="{8EAEE51C-B34F-4857-8A98-7939898BC319}"/>
          </ac:grpSpMkLst>
        </pc:grpChg>
        <pc:picChg chg="del">
          <ac:chgData name="Anthony,Krysta" userId="9244f7b8-c8dd-42c9-82f4-0cc36500d639" providerId="ADAL" clId="{F9FB8209-12C1-4726-A010-40D02BA18F1D}" dt="2022-01-31T21:49:28.275" v="36" actId="478"/>
          <ac:picMkLst>
            <pc:docMk/>
            <pc:sldMk cId="740477672" sldId="2146847684"/>
            <ac:picMk id="14" creationId="{CBDC275D-4798-4785-8012-4BF0118BA7FD}"/>
          </ac:picMkLst>
        </pc:picChg>
        <pc:picChg chg="add mod">
          <ac:chgData name="Anthony,Krysta" userId="9244f7b8-c8dd-42c9-82f4-0cc36500d639" providerId="ADAL" clId="{F9FB8209-12C1-4726-A010-40D02BA18F1D}" dt="2022-01-31T22:08:08.284" v="591" actId="207"/>
          <ac:picMkLst>
            <pc:docMk/>
            <pc:sldMk cId="740477672" sldId="2146847684"/>
            <ac:picMk id="45" creationId="{BC160389-AF18-4C3B-9A7E-E609C770DC66}"/>
          </ac:picMkLst>
        </pc:picChg>
      </pc:sldChg>
      <pc:sldChg chg="addSp delSp modSp add mod delCm modCm">
        <pc:chgData name="Anthony,Krysta" userId="9244f7b8-c8dd-42c9-82f4-0cc36500d639" providerId="ADAL" clId="{F9FB8209-12C1-4726-A010-40D02BA18F1D}" dt="2022-02-02T23:36:40.418" v="3329"/>
        <pc:sldMkLst>
          <pc:docMk/>
          <pc:sldMk cId="1745985839" sldId="2146847685"/>
        </pc:sldMkLst>
        <pc:spChg chg="mod">
          <ac:chgData name="Anthony,Krysta" userId="9244f7b8-c8dd-42c9-82f4-0cc36500d639" providerId="ADAL" clId="{F9FB8209-12C1-4726-A010-40D02BA18F1D}" dt="2022-02-02T19:39:43.287" v="2742" actId="20577"/>
          <ac:spMkLst>
            <pc:docMk/>
            <pc:sldMk cId="1745985839" sldId="2146847685"/>
            <ac:spMk id="2" creationId="{A0BF0439-4F6C-4F92-B93A-5A5E46434B53}"/>
          </ac:spMkLst>
        </pc:spChg>
        <pc:spChg chg="add del mod">
          <ac:chgData name="Anthony,Krysta" userId="9244f7b8-c8dd-42c9-82f4-0cc36500d639" providerId="ADAL" clId="{F9FB8209-12C1-4726-A010-40D02BA18F1D}" dt="2022-02-02T19:37:38.709" v="2654" actId="478"/>
          <ac:spMkLst>
            <pc:docMk/>
            <pc:sldMk cId="1745985839" sldId="2146847685"/>
            <ac:spMk id="6" creationId="{D4A6444F-D75D-4CDF-BED3-ABD679F20458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9" creationId="{4F58E67B-C21C-4024-826C-356B1EE70E30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10" creationId="{7D0D2107-9487-4A84-8F09-CEF0EFC901AE}"/>
          </ac:spMkLst>
        </pc:spChg>
        <pc:spChg chg="mod topLvl">
          <ac:chgData name="Anthony,Krysta" userId="9244f7b8-c8dd-42c9-82f4-0cc36500d639" providerId="ADAL" clId="{F9FB8209-12C1-4726-A010-40D02BA18F1D}" dt="2022-02-02T20:12:43.040" v="3295" actId="164"/>
          <ac:spMkLst>
            <pc:docMk/>
            <pc:sldMk cId="1745985839" sldId="2146847685"/>
            <ac:spMk id="11" creationId="{46025786-13F6-432F-8EE9-5AD1CCC24D84}"/>
          </ac:spMkLst>
        </pc:spChg>
        <pc:spChg chg="mod topLvl">
          <ac:chgData name="Anthony,Krysta" userId="9244f7b8-c8dd-42c9-82f4-0cc36500d639" providerId="ADAL" clId="{F9FB8209-12C1-4726-A010-40D02BA18F1D}" dt="2022-02-02T20:12:38.607" v="3294" actId="164"/>
          <ac:spMkLst>
            <pc:docMk/>
            <pc:sldMk cId="1745985839" sldId="2146847685"/>
            <ac:spMk id="13" creationId="{CABC9476-A866-4BFD-AEDF-C1AC35A6DB84}"/>
          </ac:spMkLst>
        </pc:spChg>
        <pc:spChg chg="del mod">
          <ac:chgData name="Anthony,Krysta" userId="9244f7b8-c8dd-42c9-82f4-0cc36500d639" providerId="ADAL" clId="{F9FB8209-12C1-4726-A010-40D02BA18F1D}" dt="2022-02-02T20:04:33.289" v="3075" actId="478"/>
          <ac:spMkLst>
            <pc:docMk/>
            <pc:sldMk cId="1745985839" sldId="2146847685"/>
            <ac:spMk id="14" creationId="{AB6E3193-1D81-4251-A312-C718DA94A1CB}"/>
          </ac:spMkLst>
        </pc:spChg>
        <pc:spChg chg="mod topLvl">
          <ac:chgData name="Anthony,Krysta" userId="9244f7b8-c8dd-42c9-82f4-0cc36500d639" providerId="ADAL" clId="{F9FB8209-12C1-4726-A010-40D02BA18F1D}" dt="2022-02-02T20:13:08.721" v="3325" actId="14100"/>
          <ac:spMkLst>
            <pc:docMk/>
            <pc:sldMk cId="1745985839" sldId="2146847685"/>
            <ac:spMk id="15" creationId="{11EEC16D-2BE7-4B81-864E-FE8DC21F806C}"/>
          </ac:spMkLst>
        </pc:spChg>
        <pc:spChg chg="add del mod">
          <ac:chgData name="Anthony,Krysta" userId="9244f7b8-c8dd-42c9-82f4-0cc36500d639" providerId="ADAL" clId="{F9FB8209-12C1-4726-A010-40D02BA18F1D}" dt="2022-02-02T19:39:22.110" v="2667" actId="478"/>
          <ac:spMkLst>
            <pc:docMk/>
            <pc:sldMk cId="1745985839" sldId="2146847685"/>
            <ac:spMk id="16" creationId="{32DCF6BB-2BE6-4F89-9C41-2169016EAAD1}"/>
          </ac:spMkLst>
        </pc:spChg>
        <pc:spChg chg="del mod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7" creationId="{BA46407D-F8FD-483C-9898-CC407E3B2367}"/>
          </ac:spMkLst>
        </pc:spChg>
        <pc:spChg chg="del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8" creationId="{2BF2F77B-EC95-47CB-BB0A-9172733D260E}"/>
          </ac:spMkLst>
        </pc:spChg>
        <pc:spChg chg="add mod">
          <ac:chgData name="Anthony,Krysta" userId="9244f7b8-c8dd-42c9-82f4-0cc36500d639" providerId="ADAL" clId="{F9FB8209-12C1-4726-A010-40D02BA18F1D}" dt="2022-02-02T20:11:23.703" v="3273" actId="1076"/>
          <ac:spMkLst>
            <pc:docMk/>
            <pc:sldMk cId="1745985839" sldId="2146847685"/>
            <ac:spMk id="18" creationId="{D187A2D2-3F3C-4A29-BE2A-9119CCDD0894}"/>
          </ac:spMkLst>
        </pc:spChg>
        <pc:spChg chg="add del mod">
          <ac:chgData name="Anthony,Krysta" userId="9244f7b8-c8dd-42c9-82f4-0cc36500d639" providerId="ADAL" clId="{F9FB8209-12C1-4726-A010-40D02BA18F1D}" dt="2022-02-02T19:46:26.873" v="3030" actId="478"/>
          <ac:spMkLst>
            <pc:docMk/>
            <pc:sldMk cId="1745985839" sldId="2146847685"/>
            <ac:spMk id="19" creationId="{0ABFADE1-C4C3-4A4E-955A-B0DBAA6DF8B5}"/>
          </ac:spMkLst>
        </pc:spChg>
        <pc:spChg chg="del mod">
          <ac:chgData name="Anthony,Krysta" userId="9244f7b8-c8dd-42c9-82f4-0cc36500d639" providerId="ADAL" clId="{F9FB8209-12C1-4726-A010-40D02BA18F1D}" dt="2022-01-31T23:00:08.795" v="1641" actId="478"/>
          <ac:spMkLst>
            <pc:docMk/>
            <pc:sldMk cId="1745985839" sldId="2146847685"/>
            <ac:spMk id="19" creationId="{357F4F15-4100-421D-838D-AE7A7E1E08FC}"/>
          </ac:spMkLst>
        </pc:spChg>
        <pc:spChg chg="mod topLvl">
          <ac:chgData name="Anthony,Krysta" userId="9244f7b8-c8dd-42c9-82f4-0cc36500d639" providerId="ADAL" clId="{F9FB8209-12C1-4726-A010-40D02BA18F1D}" dt="2022-02-02T20:12:34.823" v="3293" actId="164"/>
          <ac:spMkLst>
            <pc:docMk/>
            <pc:sldMk cId="1745985839" sldId="2146847685"/>
            <ac:spMk id="21" creationId="{9B120283-EF73-4CC8-BC4C-1154424F441E}"/>
          </ac:spMkLst>
        </pc:spChg>
        <pc:spChg chg="mod topLvl">
          <ac:chgData name="Anthony,Krysta" userId="9244f7b8-c8dd-42c9-82f4-0cc36500d639" providerId="ADAL" clId="{F9FB8209-12C1-4726-A010-40D02BA18F1D}" dt="2022-02-02T20:12:34.823" v="3293" actId="164"/>
          <ac:spMkLst>
            <pc:docMk/>
            <pc:sldMk cId="1745985839" sldId="2146847685"/>
            <ac:spMk id="22" creationId="{F0868F2F-3308-49ED-B317-446F36560BF3}"/>
          </ac:spMkLst>
        </pc:spChg>
        <pc:spChg chg="mod topLvl">
          <ac:chgData name="Anthony,Krysta" userId="9244f7b8-c8dd-42c9-82f4-0cc36500d639" providerId="ADAL" clId="{F9FB8209-12C1-4726-A010-40D02BA18F1D}" dt="2022-02-02T20:13:19.771" v="3326" actId="14100"/>
          <ac:spMkLst>
            <pc:docMk/>
            <pc:sldMk cId="1745985839" sldId="2146847685"/>
            <ac:spMk id="23" creationId="{3722B6AA-99BE-41FC-B787-1DDD56E85EBC}"/>
          </ac:spMkLst>
        </pc:spChg>
        <pc:spChg chg="add mod">
          <ac:chgData name="Anthony,Krysta" userId="9244f7b8-c8dd-42c9-82f4-0cc36500d639" providerId="ADAL" clId="{F9FB8209-12C1-4726-A010-40D02BA18F1D}" dt="2022-02-02T20:03:09.783" v="3057"/>
          <ac:spMkLst>
            <pc:docMk/>
            <pc:sldMk cId="1745985839" sldId="2146847685"/>
            <ac:spMk id="24" creationId="{94BEA1E4-26F7-4049-8E0D-22F8061202CB}"/>
          </ac:spMkLst>
        </pc:spChg>
        <pc:spChg chg="add mod topLvl">
          <ac:chgData name="Anthony,Krysta" userId="9244f7b8-c8dd-42c9-82f4-0cc36500d639" providerId="ADAL" clId="{F9FB8209-12C1-4726-A010-40D02BA18F1D}" dt="2022-02-02T20:12:38.607" v="3294" actId="164"/>
          <ac:spMkLst>
            <pc:docMk/>
            <pc:sldMk cId="1745985839" sldId="2146847685"/>
            <ac:spMk id="25" creationId="{111838B9-2220-41F5-BDE6-E45512A7E97A}"/>
          </ac:spMkLst>
        </pc:spChg>
        <pc:grpChg chg="add del mod">
          <ac:chgData name="Anthony,Krysta" userId="9244f7b8-c8dd-42c9-82f4-0cc36500d639" providerId="ADAL" clId="{F9FB8209-12C1-4726-A010-40D02BA18F1D}" dt="2022-02-02T20:02:52.821" v="3052" actId="165"/>
          <ac:grpSpMkLst>
            <pc:docMk/>
            <pc:sldMk cId="1745985839" sldId="2146847685"/>
            <ac:grpSpMk id="7" creationId="{835B4D34-FA77-46C3-8596-41859582EA67}"/>
          </ac:grpSpMkLst>
        </pc:grpChg>
        <pc:grpChg chg="add del mod">
          <ac:chgData name="Anthony,Krysta" userId="9244f7b8-c8dd-42c9-82f4-0cc36500d639" providerId="ADAL" clId="{F9FB8209-12C1-4726-A010-40D02BA18F1D}" dt="2022-02-02T20:03:59.605" v="3067" actId="165"/>
          <ac:grpSpMkLst>
            <pc:docMk/>
            <pc:sldMk cId="1745985839" sldId="2146847685"/>
            <ac:grpSpMk id="8" creationId="{F6BACDFC-EADD-46FF-A0D6-0352E6944839}"/>
          </ac:grpSpMkLst>
        </pc:grpChg>
        <pc:grpChg chg="add del mod">
          <ac:chgData name="Anthony,Krysta" userId="9244f7b8-c8dd-42c9-82f4-0cc36500d639" providerId="ADAL" clId="{F9FB8209-12C1-4726-A010-40D02BA18F1D}" dt="2022-02-02T20:04:16.517" v="3071" actId="165"/>
          <ac:grpSpMkLst>
            <pc:docMk/>
            <pc:sldMk cId="1745985839" sldId="2146847685"/>
            <ac:grpSpMk id="12" creationId="{F2FDB22F-39E1-4591-B73C-0D0EA23C4913}"/>
          </ac:grpSpMkLst>
        </pc:grpChg>
        <pc:grpChg chg="add del mod">
          <ac:chgData name="Anthony,Krysta" userId="9244f7b8-c8dd-42c9-82f4-0cc36500d639" providerId="ADAL" clId="{F9FB8209-12C1-4726-A010-40D02BA18F1D}" dt="2022-02-02T20:03:22.132" v="3060" actId="165"/>
          <ac:grpSpMkLst>
            <pc:docMk/>
            <pc:sldMk cId="1745985839" sldId="2146847685"/>
            <ac:grpSpMk id="17" creationId="{94CE99DA-ED4F-4D4B-AAD6-181F08092000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0" creationId="{0F351EF9-A653-4313-8A9F-7738E8894087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6" creationId="{552FE99C-C38B-4FCF-A0BC-E46273E9968F}"/>
          </ac:grpSpMkLst>
        </pc:grpChg>
        <pc:grpChg chg="add del mod">
          <ac:chgData name="Anthony,Krysta" userId="9244f7b8-c8dd-42c9-82f4-0cc36500d639" providerId="ADAL" clId="{F9FB8209-12C1-4726-A010-40D02BA18F1D}" dt="2022-02-02T20:08:24.817" v="3141" actId="165"/>
          <ac:grpSpMkLst>
            <pc:docMk/>
            <pc:sldMk cId="1745985839" sldId="2146847685"/>
            <ac:grpSpMk id="27" creationId="{4E058CC1-F486-42BD-8FD1-5120DBE91720}"/>
          </ac:grpSpMkLst>
        </pc:grpChg>
        <pc:grpChg chg="add mod">
          <ac:chgData name="Anthony,Krysta" userId="9244f7b8-c8dd-42c9-82f4-0cc36500d639" providerId="ADAL" clId="{F9FB8209-12C1-4726-A010-40D02BA18F1D}" dt="2022-02-02T20:13:22.377" v="3327" actId="1076"/>
          <ac:grpSpMkLst>
            <pc:docMk/>
            <pc:sldMk cId="1745985839" sldId="2146847685"/>
            <ac:grpSpMk id="28" creationId="{FB36DD5D-4D98-47FA-B206-6D83AF08285B}"/>
          </ac:grpSpMkLst>
        </pc:grpChg>
        <pc:grpChg chg="add mod">
          <ac:chgData name="Anthony,Krysta" userId="9244f7b8-c8dd-42c9-82f4-0cc36500d639" providerId="ADAL" clId="{F9FB8209-12C1-4726-A010-40D02BA18F1D}" dt="2022-02-02T20:13:24.524" v="3328" actId="465"/>
          <ac:grpSpMkLst>
            <pc:docMk/>
            <pc:sldMk cId="1745985839" sldId="2146847685"/>
            <ac:grpSpMk id="29" creationId="{5812AF3F-8407-4B20-BCBF-D1C9264D4BB8}"/>
          </ac:grpSpMkLst>
        </pc:grpChg>
        <pc:grpChg chg="add mod">
          <ac:chgData name="Anthony,Krysta" userId="9244f7b8-c8dd-42c9-82f4-0cc36500d639" providerId="ADAL" clId="{F9FB8209-12C1-4726-A010-40D02BA18F1D}" dt="2022-02-02T20:12:55.590" v="3322" actId="1036"/>
          <ac:grpSpMkLst>
            <pc:docMk/>
            <pc:sldMk cId="1745985839" sldId="2146847685"/>
            <ac:grpSpMk id="30" creationId="{46878B10-774C-4C91-AEEF-D6A4C7B4C9BD}"/>
          </ac:grpSpMkLst>
        </pc:grpChg>
      </pc:sldChg>
      <pc:sldChg chg="addSp delSp modSp new del mod">
        <pc:chgData name="Anthony,Krysta" userId="9244f7b8-c8dd-42c9-82f4-0cc36500d639" providerId="ADAL" clId="{F9FB8209-12C1-4726-A010-40D02BA18F1D}" dt="2022-01-31T22:05:01.131" v="252" actId="47"/>
        <pc:sldMkLst>
          <pc:docMk/>
          <pc:sldMk cId="3968040125" sldId="2146847685"/>
        </pc:sldMkLst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6" creationId="{CB2BBCE7-66DB-4966-8A6D-7C6275092408}"/>
          </ac:spMkLst>
        </pc:spChg>
        <pc:spChg chg="add mod">
          <ac:chgData name="Anthony,Krysta" userId="9244f7b8-c8dd-42c9-82f4-0cc36500d639" providerId="ADAL" clId="{F9FB8209-12C1-4726-A010-40D02BA18F1D}" dt="2022-01-31T22:03:29.714" v="166" actId="12789"/>
          <ac:spMkLst>
            <pc:docMk/>
            <pc:sldMk cId="3968040125" sldId="2146847685"/>
            <ac:spMk id="7" creationId="{486A0A5F-0D6C-455E-AC82-3E6B1D19EA9D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8" creationId="{786B3116-DEB8-498B-8E26-68D1E9027A2F}"/>
          </ac:spMkLst>
        </pc:spChg>
        <pc:spChg chg="add mod">
          <ac:chgData name="Anthony,Krysta" userId="9244f7b8-c8dd-42c9-82f4-0cc36500d639" providerId="ADAL" clId="{F9FB8209-12C1-4726-A010-40D02BA18F1D}" dt="2022-01-31T22:02:10.180" v="151" actId="1036"/>
          <ac:spMkLst>
            <pc:docMk/>
            <pc:sldMk cId="3968040125" sldId="2146847685"/>
            <ac:spMk id="9" creationId="{2EEE56D1-9F70-4D85-93F8-619628F7A03D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10" creationId="{992E834D-A5AC-4192-9133-CA9FD78C760A}"/>
          </ac:spMkLst>
        </pc:spChg>
        <pc:spChg chg="add mod">
          <ac:chgData name="Anthony,Krysta" userId="9244f7b8-c8dd-42c9-82f4-0cc36500d639" providerId="ADAL" clId="{F9FB8209-12C1-4726-A010-40D02BA18F1D}" dt="2022-01-31T22:02:10.180" v="151" actId="1036"/>
          <ac:spMkLst>
            <pc:docMk/>
            <pc:sldMk cId="3968040125" sldId="2146847685"/>
            <ac:spMk id="11" creationId="{0B321287-3A78-4B9F-9991-46EF121A4D6E}"/>
          </ac:spMkLst>
        </pc:spChg>
        <pc:spChg chg="add mod">
          <ac:chgData name="Anthony,Krysta" userId="9244f7b8-c8dd-42c9-82f4-0cc36500d639" providerId="ADAL" clId="{F9FB8209-12C1-4726-A010-40D02BA18F1D}" dt="2022-01-31T22:02:15.664" v="153" actId="403"/>
          <ac:spMkLst>
            <pc:docMk/>
            <pc:sldMk cId="3968040125" sldId="2146847685"/>
            <ac:spMk id="12" creationId="{8885838C-F1B0-4EDC-920E-F0C7144145E1}"/>
          </ac:spMkLst>
        </pc:spChg>
        <pc:spChg chg="add mod">
          <ac:chgData name="Anthony,Krysta" userId="9244f7b8-c8dd-42c9-82f4-0cc36500d639" providerId="ADAL" clId="{F9FB8209-12C1-4726-A010-40D02BA18F1D}" dt="2022-01-31T22:03:29.714" v="166" actId="12789"/>
          <ac:spMkLst>
            <pc:docMk/>
            <pc:sldMk cId="3968040125" sldId="2146847685"/>
            <ac:spMk id="13" creationId="{D46743BF-C023-49E2-A313-85D5B5A4B81D}"/>
          </ac:spMkLst>
        </pc:spChg>
        <pc:spChg chg="add del mod">
          <ac:chgData name="Anthony,Krysta" userId="9244f7b8-c8dd-42c9-82f4-0cc36500d639" providerId="ADAL" clId="{F9FB8209-12C1-4726-A010-40D02BA18F1D}" dt="2022-01-31T22:03:19.429" v="163" actId="478"/>
          <ac:spMkLst>
            <pc:docMk/>
            <pc:sldMk cId="3968040125" sldId="2146847685"/>
            <ac:spMk id="14" creationId="{B4B92BE7-B3B5-4ADE-AD5A-4EE576C2BEC6}"/>
          </ac:spMkLst>
        </pc:spChg>
        <pc:spChg chg="add del mod">
          <ac:chgData name="Anthony,Krysta" userId="9244f7b8-c8dd-42c9-82f4-0cc36500d639" providerId="ADAL" clId="{F9FB8209-12C1-4726-A010-40D02BA18F1D}" dt="2022-01-31T22:03:01.979" v="161" actId="478"/>
          <ac:spMkLst>
            <pc:docMk/>
            <pc:sldMk cId="3968040125" sldId="2146847685"/>
            <ac:spMk id="15" creationId="{45E2A748-B014-4D02-AECC-713FE36B900C}"/>
          </ac:spMkLst>
        </pc:spChg>
        <pc:spChg chg="add del mod">
          <ac:chgData name="Anthony,Krysta" userId="9244f7b8-c8dd-42c9-82f4-0cc36500d639" providerId="ADAL" clId="{F9FB8209-12C1-4726-A010-40D02BA18F1D}" dt="2022-01-31T22:02:50.197" v="159" actId="478"/>
          <ac:spMkLst>
            <pc:docMk/>
            <pc:sldMk cId="3968040125" sldId="2146847685"/>
            <ac:spMk id="16" creationId="{2C9DFC12-D722-4C27-8F58-691F9789849C}"/>
          </ac:spMkLst>
        </pc:spChg>
        <pc:spChg chg="add del mod">
          <ac:chgData name="Anthony,Krysta" userId="9244f7b8-c8dd-42c9-82f4-0cc36500d639" providerId="ADAL" clId="{F9FB8209-12C1-4726-A010-40D02BA18F1D}" dt="2022-01-31T22:02:24.174" v="154" actId="478"/>
          <ac:spMkLst>
            <pc:docMk/>
            <pc:sldMk cId="3968040125" sldId="2146847685"/>
            <ac:spMk id="17" creationId="{108DCA5A-0163-4DC3-977A-55844B5B1E2F}"/>
          </ac:spMkLst>
        </pc:spChg>
        <pc:spChg chg="add mod">
          <ac:chgData name="Anthony,Krysta" userId="9244f7b8-c8dd-42c9-82f4-0cc36500d639" providerId="ADAL" clId="{F9FB8209-12C1-4726-A010-40D02BA18F1D}" dt="2022-01-31T22:03:40.088" v="174" actId="1036"/>
          <ac:spMkLst>
            <pc:docMk/>
            <pc:sldMk cId="3968040125" sldId="2146847685"/>
            <ac:spMk id="19" creationId="{65549706-E835-4AA8-AB61-BF60283FAEB6}"/>
          </ac:spMkLst>
        </pc:spChg>
        <pc:spChg chg="add mod">
          <ac:chgData name="Anthony,Krysta" userId="9244f7b8-c8dd-42c9-82f4-0cc36500d639" providerId="ADAL" clId="{F9FB8209-12C1-4726-A010-40D02BA18F1D}" dt="2022-01-31T22:03:40.088" v="174" actId="1036"/>
          <ac:spMkLst>
            <pc:docMk/>
            <pc:sldMk cId="3968040125" sldId="2146847685"/>
            <ac:spMk id="20" creationId="{9128D6DF-B827-4847-A1B6-5F7345359AD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2" creationId="{91B7A701-F235-4CC8-B114-2D9AB7D25618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3" creationId="{55F3EE2F-9994-41D5-9478-1360339AB7AB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4" creationId="{CD182DAE-FD23-4B93-8EEF-90F19EB50AA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5" creationId="{10D4BA56-A2FB-4230-A9EF-43626526496F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6" creationId="{3541AA9B-C586-4691-A16D-A789BECD54F6}"/>
          </ac:spMkLst>
        </pc:spChg>
        <pc:spChg chg="mod">
          <ac:chgData name="Anthony,Krysta" userId="9244f7b8-c8dd-42c9-82f4-0cc36500d639" providerId="ADAL" clId="{F9FB8209-12C1-4726-A010-40D02BA18F1D}" dt="2022-01-31T22:03:19.701" v="164"/>
          <ac:spMkLst>
            <pc:docMk/>
            <pc:sldMk cId="3968040125" sldId="2146847685"/>
            <ac:spMk id="27" creationId="{B9AEAECF-FF05-4D50-987B-4661454E8AFB}"/>
          </ac:spMkLst>
        </pc:spChg>
        <pc:grpChg chg="add mod">
          <ac:chgData name="Anthony,Krysta" userId="9244f7b8-c8dd-42c9-82f4-0cc36500d639" providerId="ADAL" clId="{F9FB8209-12C1-4726-A010-40D02BA18F1D}" dt="2022-01-31T22:03:40.088" v="174" actId="1036"/>
          <ac:grpSpMkLst>
            <pc:docMk/>
            <pc:sldMk cId="3968040125" sldId="2146847685"/>
            <ac:grpSpMk id="21" creationId="{27C853BA-0808-406E-A3B6-A02E18D281D4}"/>
          </ac:grpSpMkLst>
        </pc:grpChg>
        <pc:picChg chg="add mod">
          <ac:chgData name="Anthony,Krysta" userId="9244f7b8-c8dd-42c9-82f4-0cc36500d639" providerId="ADAL" clId="{F9FB8209-12C1-4726-A010-40D02BA18F1D}" dt="2022-01-31T22:03:40.088" v="174" actId="1036"/>
          <ac:picMkLst>
            <pc:docMk/>
            <pc:sldMk cId="3968040125" sldId="2146847685"/>
            <ac:picMk id="18" creationId="{9613E393-A7ED-4EAD-BBCD-3E27575AC7FF}"/>
          </ac:picMkLst>
        </pc:picChg>
      </pc:sldChg>
      <pc:sldChg chg="modSp new mod">
        <pc:chgData name="Anthony,Krysta" userId="9244f7b8-c8dd-42c9-82f4-0cc36500d639" providerId="ADAL" clId="{F9FB8209-12C1-4726-A010-40D02BA18F1D}" dt="2022-02-02T04:10:44.273" v="2122" actId="20577"/>
        <pc:sldMkLst>
          <pc:docMk/>
          <pc:sldMk cId="1815404380" sldId="2146847686"/>
        </pc:sldMkLst>
        <pc:spChg chg="mod">
          <ac:chgData name="Anthony,Krysta" userId="9244f7b8-c8dd-42c9-82f4-0cc36500d639" providerId="ADAL" clId="{F9FB8209-12C1-4726-A010-40D02BA18F1D}" dt="2022-02-02T04:10:44.273" v="2122" actId="20577"/>
          <ac:spMkLst>
            <pc:docMk/>
            <pc:sldMk cId="1815404380" sldId="2146847686"/>
            <ac:spMk id="3" creationId="{65F086A7-2353-4A7D-AC9F-87793EF69B2F}"/>
          </ac:spMkLst>
        </pc:spChg>
      </pc:sldChg>
      <pc:sldChg chg="addSp modSp new mod">
        <pc:chgData name="Anthony,Krysta" userId="9244f7b8-c8dd-42c9-82f4-0cc36500d639" providerId="ADAL" clId="{F9FB8209-12C1-4726-A010-40D02BA18F1D}" dt="2022-02-02T04:22:13.475" v="2592" actId="20577"/>
        <pc:sldMkLst>
          <pc:docMk/>
          <pc:sldMk cId="3259523583" sldId="2146847687"/>
        </pc:sldMkLst>
        <pc:spChg chg="mod">
          <ac:chgData name="Anthony,Krysta" userId="9244f7b8-c8dd-42c9-82f4-0cc36500d639" providerId="ADAL" clId="{F9FB8209-12C1-4726-A010-40D02BA18F1D}" dt="2022-02-02T04:10:56.023" v="2141" actId="20577"/>
          <ac:spMkLst>
            <pc:docMk/>
            <pc:sldMk cId="3259523583" sldId="2146847687"/>
            <ac:spMk id="2" creationId="{DA8CE288-174F-460C-86D5-F7D1BA42C218}"/>
          </ac:spMkLst>
        </pc:spChg>
        <pc:spChg chg="add mod">
          <ac:chgData name="Anthony,Krysta" userId="9244f7b8-c8dd-42c9-82f4-0cc36500d639" providerId="ADAL" clId="{F9FB8209-12C1-4726-A010-40D02BA18F1D}" dt="2022-02-02T04:22:13.475" v="2592" actId="20577"/>
          <ac:spMkLst>
            <pc:docMk/>
            <pc:sldMk cId="3259523583" sldId="2146847687"/>
            <ac:spMk id="7" creationId="{EFE9ECB6-D74A-4F3D-885B-ABC5ADB8127C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8" creationId="{0CF4FA0D-9A3A-4DF6-92C5-29A58A3E900E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9" creationId="{6201262B-A7E6-44F6-80AF-D3486CAAD577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2" creationId="{9C060004-12E7-4477-A345-D5AF4EC225E9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4" creationId="{67B3A34E-5BA9-4B59-94DF-957D9CF40C3D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15" creationId="{324EBA1C-2BA9-408C-B2D7-7B8EABDF7F3E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21" creationId="{C46CFF66-2CD2-4D57-87D9-40ED5BEFBFA6}"/>
          </ac:spMkLst>
        </pc:spChg>
        <pc:spChg chg="add mod">
          <ac:chgData name="Anthony,Krysta" userId="9244f7b8-c8dd-42c9-82f4-0cc36500d639" providerId="ADAL" clId="{F9FB8209-12C1-4726-A010-40D02BA18F1D}" dt="2022-02-02T04:11:00.620" v="2142"/>
          <ac:spMkLst>
            <pc:docMk/>
            <pc:sldMk cId="3259523583" sldId="2146847687"/>
            <ac:spMk id="23" creationId="{735D00B8-A877-4738-A99F-E771B059CCA1}"/>
          </ac:spMkLst>
        </pc:sp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6" creationId="{2A7A7226-527C-4DB0-8FFF-E186911E03DC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0" creationId="{32482266-1A29-4B54-8195-CDACA64AADAC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1" creationId="{442BEF3D-81F8-4F47-BB76-10DEAA56971F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3" creationId="{2EF5A1FC-5E42-4A0D-88D1-39B048D493A3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6" creationId="{BA46A9D9-CC22-4302-AEBA-50E91743F3F8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7" creationId="{EE226460-2446-4B47-BE56-2345B92FCF53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8" creationId="{469648A5-BD0A-40AB-93B0-D27C78A5EDF1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19" creationId="{2F2778D8-760F-49DF-8874-2E99C7906BB4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20" creationId="{614B1580-94C7-4ED7-B87B-A6D6E0E008F7}"/>
          </ac:cxnSpMkLst>
        </pc:cxnChg>
        <pc:cxnChg chg="add mod">
          <ac:chgData name="Anthony,Krysta" userId="9244f7b8-c8dd-42c9-82f4-0cc36500d639" providerId="ADAL" clId="{F9FB8209-12C1-4726-A010-40D02BA18F1D}" dt="2022-02-02T04:11:00.620" v="2142"/>
          <ac:cxnSpMkLst>
            <pc:docMk/>
            <pc:sldMk cId="3259523583" sldId="2146847687"/>
            <ac:cxnSpMk id="22" creationId="{7F05B887-8079-49AD-8C21-3C2A1A89546D}"/>
          </ac:cxnSpMkLst>
        </pc:cxnChg>
      </pc:sldChg>
      <pc:sldChg chg="addSp modSp new mod">
        <pc:chgData name="Anthony,Krysta" userId="9244f7b8-c8dd-42c9-82f4-0cc36500d639" providerId="ADAL" clId="{F9FB8209-12C1-4726-A010-40D02BA18F1D}" dt="2022-02-02T19:44:25.745" v="2988" actId="207"/>
        <pc:sldMkLst>
          <pc:docMk/>
          <pc:sldMk cId="383630732" sldId="2146847688"/>
        </pc:sldMkLst>
        <pc:spChg chg="mod">
          <ac:chgData name="Anthony,Krysta" userId="9244f7b8-c8dd-42c9-82f4-0cc36500d639" providerId="ADAL" clId="{F9FB8209-12C1-4726-A010-40D02BA18F1D}" dt="2022-02-02T19:42:29.553" v="2980" actId="20577"/>
          <ac:spMkLst>
            <pc:docMk/>
            <pc:sldMk cId="383630732" sldId="2146847688"/>
            <ac:spMk id="2" creationId="{CF761379-2A4E-4645-A8B6-13FD8AF88F20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7" creationId="{FBFA753A-3A02-4CEA-8ECE-7110FC57C18A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8" creationId="{B9D95840-02C0-47A7-825B-9E8F8219AECA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9" creationId="{2CD19958-0AB4-4FAF-A11D-77B02F21D14D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1" creationId="{1247358B-5B45-4EC9-93B7-A9EE0DDB162E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3" creationId="{BEC8425B-7615-49E1-95CA-19257018DA65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14" creationId="{0C45F3A7-53C7-4BD5-86DD-1764322F44B2}"/>
          </ac:spMkLst>
        </pc:spChg>
        <pc:spChg chg="mod">
          <ac:chgData name="Anthony,Krysta" userId="9244f7b8-c8dd-42c9-82f4-0cc36500d639" providerId="ADAL" clId="{F9FB8209-12C1-4726-A010-40D02BA18F1D}" dt="2022-02-02T19:44:18.884" v="2987" actId="207"/>
          <ac:spMkLst>
            <pc:docMk/>
            <pc:sldMk cId="383630732" sldId="2146847688"/>
            <ac:spMk id="15" creationId="{A290AAC9-B00B-4D29-A4F6-919E98B01B4D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6" creationId="{75788231-759C-4199-91FE-FA8BFA7B00A0}"/>
          </ac:spMkLst>
        </pc:spChg>
        <pc:spChg chg="mod">
          <ac:chgData name="Anthony,Krysta" userId="9244f7b8-c8dd-42c9-82f4-0cc36500d639" providerId="ADAL" clId="{F9FB8209-12C1-4726-A010-40D02BA18F1D}" dt="2022-02-02T19:44:03.442" v="2983" actId="2711"/>
          <ac:spMkLst>
            <pc:docMk/>
            <pc:sldMk cId="383630732" sldId="2146847688"/>
            <ac:spMk id="17" creationId="{FF03F944-BB34-4E6E-985D-9430BD433EAD}"/>
          </ac:spMkLst>
        </pc:spChg>
        <pc:spChg chg="mod">
          <ac:chgData name="Anthony,Krysta" userId="9244f7b8-c8dd-42c9-82f4-0cc36500d639" providerId="ADAL" clId="{F9FB8209-12C1-4726-A010-40D02BA18F1D}" dt="2022-02-02T19:44:09.531" v="2984" actId="207"/>
          <ac:spMkLst>
            <pc:docMk/>
            <pc:sldMk cId="383630732" sldId="2146847688"/>
            <ac:spMk id="21" creationId="{47CF4C72-D2D1-4ED5-A448-9F0AB2D9600F}"/>
          </ac:spMkLst>
        </pc:spChg>
        <pc:spChg chg="mod">
          <ac:chgData name="Anthony,Krysta" userId="9244f7b8-c8dd-42c9-82f4-0cc36500d639" providerId="ADAL" clId="{F9FB8209-12C1-4726-A010-40D02BA18F1D}" dt="2022-02-02T19:44:13.479" v="2986" actId="108"/>
          <ac:spMkLst>
            <pc:docMk/>
            <pc:sldMk cId="383630732" sldId="2146847688"/>
            <ac:spMk id="22" creationId="{7A0B4FC7-F68E-4795-8C4D-B697F4D82253}"/>
          </ac:spMkLst>
        </pc:spChg>
        <pc:spChg chg="mod">
          <ac:chgData name="Anthony,Krysta" userId="9244f7b8-c8dd-42c9-82f4-0cc36500d639" providerId="ADAL" clId="{F9FB8209-12C1-4726-A010-40D02BA18F1D}" dt="2022-02-02T19:44:11.857" v="2985" actId="108"/>
          <ac:spMkLst>
            <pc:docMk/>
            <pc:sldMk cId="383630732" sldId="2146847688"/>
            <ac:spMk id="23" creationId="{DB8B6C67-4DC5-4E34-B405-32806543AC99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4" creationId="{F663933A-EDE2-4ADB-9BFC-3BABD7596BE8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5" creationId="{A9EF38D0-D5F7-4DF8-82D2-0C924481C276}"/>
          </ac:spMkLst>
        </pc:spChg>
        <pc:spChg chg="add mod">
          <ac:chgData name="Anthony,Krysta" userId="9244f7b8-c8dd-42c9-82f4-0cc36500d639" providerId="ADAL" clId="{F9FB8209-12C1-4726-A010-40D02BA18F1D}" dt="2022-02-02T19:44:25.745" v="2988" actId="207"/>
          <ac:spMkLst>
            <pc:docMk/>
            <pc:sldMk cId="383630732" sldId="2146847688"/>
            <ac:spMk id="26" creationId="{EBA0E0E3-5630-4C18-AF65-95A0D1787754}"/>
          </ac:spMkLst>
        </pc:spChg>
        <pc:grpChg chg="add mod">
          <ac:chgData name="Anthony,Krysta" userId="9244f7b8-c8dd-42c9-82f4-0cc36500d639" providerId="ADAL" clId="{F9FB8209-12C1-4726-A010-40D02BA18F1D}" dt="2022-02-02T19:43:45.889" v="2982"/>
          <ac:grpSpMkLst>
            <pc:docMk/>
            <pc:sldMk cId="383630732" sldId="2146847688"/>
            <ac:grpSpMk id="6" creationId="{93D22876-DC70-49DD-A83D-BD24ABBAF272}"/>
          </ac:grpSpMkLst>
        </pc:grp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0" creationId="{99C48763-648B-4600-BA1D-B790B7D0F872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2" creationId="{7A01DB65-8399-43BD-A268-84136FF95709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8" creationId="{3CF468C3-ED87-43F4-97AE-AD967932C1F1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19" creationId="{93161DD6-C085-4602-BB26-5C1AF0C5C3B0}"/>
          </ac:cxnSpMkLst>
        </pc:cxnChg>
        <pc:cxnChg chg="mod">
          <ac:chgData name="Anthony,Krysta" userId="9244f7b8-c8dd-42c9-82f4-0cc36500d639" providerId="ADAL" clId="{F9FB8209-12C1-4726-A010-40D02BA18F1D}" dt="2022-02-02T19:43:45.889" v="2982"/>
          <ac:cxnSpMkLst>
            <pc:docMk/>
            <pc:sldMk cId="383630732" sldId="2146847688"/>
            <ac:cxnSpMk id="20" creationId="{7BE9621A-439A-4A2A-B880-561A42BB96D4}"/>
          </ac:cxnSpMkLst>
        </pc:cxnChg>
      </pc:sldChg>
    </pc:docChg>
  </pc:docChgLst>
  <pc:docChgLst>
    <pc:chgData name="Krysta" userId="9244f7b8-c8dd-42c9-82f4-0cc36500d639" providerId="ADAL" clId="{1849F4E2-0CC7-415C-8DE4-60B651D88368}"/>
    <pc:docChg chg="undo redo custSel addSld delSld modSld">
      <pc:chgData name="Krysta" userId="9244f7b8-c8dd-42c9-82f4-0cc36500d639" providerId="ADAL" clId="{1849F4E2-0CC7-415C-8DE4-60B651D88368}" dt="2021-12-02T19:00:42.439" v="324" actId="1036"/>
      <pc:docMkLst>
        <pc:docMk/>
      </pc:docMkLst>
      <pc:sldChg chg="modSp add del mod">
        <pc:chgData name="Krysta" userId="9244f7b8-c8dd-42c9-82f4-0cc36500d639" providerId="ADAL" clId="{1849F4E2-0CC7-415C-8DE4-60B651D88368}" dt="2021-12-02T18:43:52.245" v="81" actId="47"/>
        <pc:sldMkLst>
          <pc:docMk/>
          <pc:sldMk cId="1922715581" sldId="2141411663"/>
        </pc:sldMkLst>
        <pc:spChg chg="mod">
          <ac:chgData name="Krysta" userId="9244f7b8-c8dd-42c9-82f4-0cc36500d639" providerId="ADAL" clId="{1849F4E2-0CC7-415C-8DE4-60B651D88368}" dt="2021-12-02T18:43:42.786" v="79" actId="20577"/>
          <ac:spMkLst>
            <pc:docMk/>
            <pc:sldMk cId="1922715581" sldId="2141411663"/>
            <ac:spMk id="13" creationId="{6CBC5AFE-8080-439C-88F4-247DEEEAE2B4}"/>
          </ac:spMkLst>
        </pc:spChg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451152874" sldId="2146847639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3204863827" sldId="2146847640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82409530" sldId="2146847641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1364510662" sldId="2146847656"/>
        </pc:sldMkLst>
      </pc:sldChg>
      <pc:sldChg chg="add del">
        <pc:chgData name="Krysta" userId="9244f7b8-c8dd-42c9-82f4-0cc36500d639" providerId="ADAL" clId="{1849F4E2-0CC7-415C-8DE4-60B651D88368}" dt="2021-12-02T18:53:52.379" v="216" actId="47"/>
        <pc:sldMkLst>
          <pc:docMk/>
          <pc:sldMk cId="1181283028" sldId="2146847660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2132418063" sldId="2146847667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2777777861" sldId="2146847668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3669726017" sldId="2146847669"/>
        </pc:sldMkLst>
      </pc:sldChg>
      <pc:sldChg chg="add del">
        <pc:chgData name="Krysta" userId="9244f7b8-c8dd-42c9-82f4-0cc36500d639" providerId="ADAL" clId="{1849F4E2-0CC7-415C-8DE4-60B651D88368}" dt="2021-12-02T18:44:00.045" v="82" actId="47"/>
        <pc:sldMkLst>
          <pc:docMk/>
          <pc:sldMk cId="1273619633" sldId="2146847670"/>
        </pc:sldMkLst>
      </pc:sldChg>
      <pc:sldChg chg="add del">
        <pc:chgData name="Krysta" userId="9244f7b8-c8dd-42c9-82f4-0cc36500d639" providerId="ADAL" clId="{1849F4E2-0CC7-415C-8DE4-60B651D88368}" dt="2021-12-02T18:45:01.434" v="83" actId="47"/>
        <pc:sldMkLst>
          <pc:docMk/>
          <pc:sldMk cId="1713831338" sldId="2146847673"/>
        </pc:sldMkLst>
      </pc:sldChg>
      <pc:sldChg chg="add del">
        <pc:chgData name="Krysta" userId="9244f7b8-c8dd-42c9-82f4-0cc36500d639" providerId="ADAL" clId="{1849F4E2-0CC7-415C-8DE4-60B651D88368}" dt="2021-12-02T18:45:01.434" v="83" actId="47"/>
        <pc:sldMkLst>
          <pc:docMk/>
          <pc:sldMk cId="3428675465" sldId="2146847677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936241907" sldId="2146847678"/>
        </pc:sldMkLst>
      </pc:sldChg>
      <pc:sldChg chg="add del">
        <pc:chgData name="Krysta" userId="9244f7b8-c8dd-42c9-82f4-0cc36500d639" providerId="ADAL" clId="{1849F4E2-0CC7-415C-8DE4-60B651D88368}" dt="2021-12-02T18:53:40.403" v="215" actId="47"/>
        <pc:sldMkLst>
          <pc:docMk/>
          <pc:sldMk cId="248483385" sldId="2146847679"/>
        </pc:sldMkLst>
      </pc:sldChg>
      <pc:sldChg chg="addSp delSp modSp new mod">
        <pc:chgData name="Krysta" userId="9244f7b8-c8dd-42c9-82f4-0cc36500d639" providerId="ADAL" clId="{1849F4E2-0CC7-415C-8DE4-60B651D88368}" dt="2021-12-02T19:00:42.439" v="324" actId="1036"/>
        <pc:sldMkLst>
          <pc:docMk/>
          <pc:sldMk cId="3481125458" sldId="2146847680"/>
        </pc:sldMkLst>
        <pc:spChg chg="del">
          <ac:chgData name="Krysta" userId="9244f7b8-c8dd-42c9-82f4-0cc36500d639" providerId="ADAL" clId="{1849F4E2-0CC7-415C-8DE4-60B651D88368}" dt="2021-12-02T18:45:12.485" v="85" actId="478"/>
          <ac:spMkLst>
            <pc:docMk/>
            <pc:sldMk cId="3481125458" sldId="2146847680"/>
            <ac:spMk id="2" creationId="{0AAFAB41-D7E7-43FC-8CF7-DD092064E3A2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8" creationId="{395C6703-3054-47F6-845F-F9B5D9081A25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0" creationId="{0A17F261-5737-4261-8E06-8EDAE1E350C0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1" creationId="{7DC316BA-D0B0-4CB1-80A4-5AF4F09C86AC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2" creationId="{E7B94D45-67A5-4D5F-8CFF-3F2D83B32970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3" creationId="{A66892C0-6130-4079-A522-21E805347E16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4" creationId="{E17CE04B-5203-43DF-942E-FD3378936612}"/>
          </ac:spMkLst>
        </pc:spChg>
        <pc:spChg chg="add mod">
          <ac:chgData name="Krysta" userId="9244f7b8-c8dd-42c9-82f4-0cc36500d639" providerId="ADAL" clId="{1849F4E2-0CC7-415C-8DE4-60B651D88368}" dt="2021-12-02T18:59:23.810" v="296" actId="1036"/>
          <ac:spMkLst>
            <pc:docMk/>
            <pc:sldMk cId="3481125458" sldId="2146847680"/>
            <ac:spMk id="15" creationId="{8A0A29CA-F5E7-442A-869C-85BCF44063C1}"/>
          </ac:spMkLst>
        </pc:spChg>
        <pc:spChg chg="add mod topLvl">
          <ac:chgData name="Krysta" userId="9244f7b8-c8dd-42c9-82f4-0cc36500d639" providerId="ADAL" clId="{1849F4E2-0CC7-415C-8DE4-60B651D88368}" dt="2021-12-02T19:00:34.182" v="317" actId="164"/>
          <ac:spMkLst>
            <pc:docMk/>
            <pc:sldMk cId="3481125458" sldId="2146847680"/>
            <ac:spMk id="17" creationId="{0F14D400-C6A1-447E-83DC-8B655A69CFF5}"/>
          </ac:spMkLst>
        </pc:spChg>
        <pc:spChg chg="add mod">
          <ac:chgData name="Krysta" userId="9244f7b8-c8dd-42c9-82f4-0cc36500d639" providerId="ADAL" clId="{1849F4E2-0CC7-415C-8DE4-60B651D88368}" dt="2021-12-02T19:00:34.182" v="317" actId="164"/>
          <ac:spMkLst>
            <pc:docMk/>
            <pc:sldMk cId="3481125458" sldId="2146847680"/>
            <ac:spMk id="18" creationId="{0E50B980-92FC-4742-BF17-479C6B07E04A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19" creationId="{60896281-FAA4-4D3A-B43C-B48E2C6FF796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0" creationId="{2FEF7FB1-41D9-4514-926D-92B5C27F0FA4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1" creationId="{F3357282-60AB-48EB-986E-56D9B6DFD782}"/>
          </ac:spMkLst>
        </pc:spChg>
        <pc:spChg chg="add mod topLvl">
          <ac:chgData name="Krysta" userId="9244f7b8-c8dd-42c9-82f4-0cc36500d639" providerId="ADAL" clId="{1849F4E2-0CC7-415C-8DE4-60B651D88368}" dt="2021-12-02T18:59:19.621" v="291" actId="164"/>
          <ac:spMkLst>
            <pc:docMk/>
            <pc:sldMk cId="3481125458" sldId="2146847680"/>
            <ac:spMk id="22" creationId="{C07B5C38-319C-409E-9FB3-921850607F2A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3" creationId="{BDBC7261-1AC3-4D14-A38A-8C245DB6598A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4" creationId="{80AF158F-89F6-43E1-87F5-C8A3A316C397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5" creationId="{FAFE3212-D928-4A64-B2FC-54FD9FD61F3F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6" creationId="{4AF40B7C-2569-476B-AC51-BD76AB0ECB42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7" creationId="{5921D740-263C-431C-BBFF-45BA602C43AE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29" creationId="{C760DD9B-2162-4AE1-A877-2D26CE72C0B8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1" creationId="{A1AD8ACF-2AE8-4182-A9F3-51BEE2BBFF1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2" creationId="{56246F7F-1976-42F2-A24F-A933371549BA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3" creationId="{24D85FF9-BAAF-45C0-A6CC-E1AA1E4D731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4" creationId="{ECD59FFD-7DC1-4BA1-B2F3-B61CA6FE2652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5" creationId="{BF38C885-021C-46E2-A02A-D92BD3DF339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6" creationId="{F75BE55B-48BC-49B2-8EE0-F20CC9E565CE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7" creationId="{9156FD27-4B33-477B-A576-D01A567766D5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8" creationId="{6831986D-9008-4C30-926E-0EB304305E5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39" creationId="{2F0D6885-2EBB-417D-8784-98820DA4AB93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0" creationId="{7A407BE8-6E33-455D-A3EF-62105F2B939A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1" creationId="{4E1B811B-5A20-4C94-BB77-81AC73C98B07}"/>
          </ac:spMkLst>
        </pc:spChg>
        <pc:spChg chg="mod topLvl">
          <ac:chgData name="Krysta" userId="9244f7b8-c8dd-42c9-82f4-0cc36500d639" providerId="ADAL" clId="{1849F4E2-0CC7-415C-8DE4-60B651D88368}" dt="2021-12-02T18:59:55.127" v="305" actId="164"/>
          <ac:spMkLst>
            <pc:docMk/>
            <pc:sldMk cId="3481125458" sldId="2146847680"/>
            <ac:spMk id="42" creationId="{87294F4E-0C79-49C7-956B-B8B219683964}"/>
          </ac:spMkLst>
        </pc:spChg>
        <pc:spChg chg="add mod topLvl">
          <ac:chgData name="Krysta" userId="9244f7b8-c8dd-42c9-82f4-0cc36500d639" providerId="ADAL" clId="{1849F4E2-0CC7-415C-8DE4-60B651D88368}" dt="2021-12-02T18:58:53.142" v="275" actId="164"/>
          <ac:spMkLst>
            <pc:docMk/>
            <pc:sldMk cId="3481125458" sldId="2146847680"/>
            <ac:spMk id="43" creationId="{C1C3A8C7-36D0-4B56-849E-1D87F6F64CE9}"/>
          </ac:spMkLst>
        </pc:spChg>
        <pc:spChg chg="add mod ord">
          <ac:chgData name="Krysta" userId="9244f7b8-c8dd-42c9-82f4-0cc36500d639" providerId="ADAL" clId="{1849F4E2-0CC7-415C-8DE4-60B651D88368}" dt="2021-12-02T18:45:33.985" v="92" actId="167"/>
          <ac:spMkLst>
            <pc:docMk/>
            <pc:sldMk cId="3481125458" sldId="2146847680"/>
            <ac:spMk id="44" creationId="{57BB7E40-A467-4930-9CA3-FC702DA0647C}"/>
          </ac:spMkLst>
        </pc:spChg>
        <pc:grpChg chg="add del mod">
          <ac:chgData name="Krysta" userId="9244f7b8-c8dd-42c9-82f4-0cc36500d639" providerId="ADAL" clId="{1849F4E2-0CC7-415C-8DE4-60B651D88368}" dt="2021-12-02T18:56:04.996" v="218" actId="165"/>
          <ac:grpSpMkLst>
            <pc:docMk/>
            <pc:sldMk cId="3481125458" sldId="2146847680"/>
            <ac:grpSpMk id="6" creationId="{BF421EAD-51CC-49B7-87A0-F96FC34526E0}"/>
          </ac:grpSpMkLst>
        </pc:grpChg>
        <pc:grpChg chg="add del mod">
          <ac:chgData name="Krysta" userId="9244f7b8-c8dd-42c9-82f4-0cc36500d639" providerId="ADAL" clId="{1849F4E2-0CC7-415C-8DE4-60B651D88368}" dt="2021-12-02T18:56:04.996" v="218" actId="165"/>
          <ac:grpSpMkLst>
            <pc:docMk/>
            <pc:sldMk cId="3481125458" sldId="2146847680"/>
            <ac:grpSpMk id="30" creationId="{C91BA4C4-ACAD-4A58-A34F-89507426361F}"/>
          </ac:grpSpMkLst>
        </pc:grpChg>
        <pc:grpChg chg="add del mod">
          <ac:chgData name="Krysta" userId="9244f7b8-c8dd-42c9-82f4-0cc36500d639" providerId="ADAL" clId="{1849F4E2-0CC7-415C-8DE4-60B651D88368}" dt="2021-12-02T18:59:49.925" v="304" actId="165"/>
          <ac:grpSpMkLst>
            <pc:docMk/>
            <pc:sldMk cId="3481125458" sldId="2146847680"/>
            <ac:grpSpMk id="45" creationId="{48A42AB2-96AF-4D09-B4AC-2C55EE0E7946}"/>
          </ac:grpSpMkLst>
        </pc:grpChg>
        <pc:grpChg chg="add del mod">
          <ac:chgData name="Krysta" userId="9244f7b8-c8dd-42c9-82f4-0cc36500d639" providerId="ADAL" clId="{1849F4E2-0CC7-415C-8DE4-60B651D88368}" dt="2021-12-02T19:00:26.582" v="316" actId="165"/>
          <ac:grpSpMkLst>
            <pc:docMk/>
            <pc:sldMk cId="3481125458" sldId="2146847680"/>
            <ac:grpSpMk id="46" creationId="{BE433648-C12D-497D-9DD1-1F2E67066C68}"/>
          </ac:grpSpMkLst>
        </pc:grpChg>
        <pc:grpChg chg="add del mod">
          <ac:chgData name="Krysta" userId="9244f7b8-c8dd-42c9-82f4-0cc36500d639" providerId="ADAL" clId="{1849F4E2-0CC7-415C-8DE4-60B651D88368}" dt="2021-12-02T18:58:59.832" v="286" actId="165"/>
          <ac:grpSpMkLst>
            <pc:docMk/>
            <pc:sldMk cId="3481125458" sldId="2146847680"/>
            <ac:grpSpMk id="47" creationId="{53B2E3FA-6809-497E-A97C-01410AA56281}"/>
          </ac:grpSpMkLst>
        </pc:grpChg>
        <pc:grpChg chg="add del mod">
          <ac:chgData name="Krysta" userId="9244f7b8-c8dd-42c9-82f4-0cc36500d639" providerId="ADAL" clId="{1849F4E2-0CC7-415C-8DE4-60B651D88368}" dt="2021-12-02T18:58:47.590" v="274" actId="165"/>
          <ac:grpSpMkLst>
            <pc:docMk/>
            <pc:sldMk cId="3481125458" sldId="2146847680"/>
            <ac:grpSpMk id="48" creationId="{BD910ADA-A7F2-48F4-AE04-04BDF7C3C598}"/>
          </ac:grpSpMkLst>
        </pc:grpChg>
        <pc:grpChg chg="add del mod">
          <ac:chgData name="Krysta" userId="9244f7b8-c8dd-42c9-82f4-0cc36500d639" providerId="ADAL" clId="{1849F4E2-0CC7-415C-8DE4-60B651D88368}" dt="2021-12-02T18:58:40.471" v="273" actId="165"/>
          <ac:grpSpMkLst>
            <pc:docMk/>
            <pc:sldMk cId="3481125458" sldId="2146847680"/>
            <ac:grpSpMk id="49" creationId="{123133F1-ED92-44EE-92B8-F07BE1E758AD}"/>
          </ac:grpSpMkLst>
        </pc:grpChg>
        <pc:grpChg chg="add del mod">
          <ac:chgData name="Krysta" userId="9244f7b8-c8dd-42c9-82f4-0cc36500d639" providerId="ADAL" clId="{1849F4E2-0CC7-415C-8DE4-60B651D88368}" dt="2021-12-02T18:59:08.917" v="287" actId="165"/>
          <ac:grpSpMkLst>
            <pc:docMk/>
            <pc:sldMk cId="3481125458" sldId="2146847680"/>
            <ac:grpSpMk id="50" creationId="{C4A720C9-E21F-4950-A91D-6261E43DE285}"/>
          </ac:grpSpMkLst>
        </pc:grpChg>
        <pc:grpChg chg="add mod">
          <ac:chgData name="Krysta" userId="9244f7b8-c8dd-42c9-82f4-0cc36500d639" providerId="ADAL" clId="{1849F4E2-0CC7-415C-8DE4-60B651D88368}" dt="2021-12-02T18:58:55.663" v="285" actId="1035"/>
          <ac:grpSpMkLst>
            <pc:docMk/>
            <pc:sldMk cId="3481125458" sldId="2146847680"/>
            <ac:grpSpMk id="51" creationId="{B3579A5A-0F67-484B-9D4F-83D4FA3F4B6F}"/>
          </ac:grpSpMkLst>
        </pc:grpChg>
        <pc:grpChg chg="add mod">
          <ac:chgData name="Krysta" userId="9244f7b8-c8dd-42c9-82f4-0cc36500d639" providerId="ADAL" clId="{1849F4E2-0CC7-415C-8DE4-60B651D88368}" dt="2021-12-02T18:59:19.621" v="291" actId="164"/>
          <ac:grpSpMkLst>
            <pc:docMk/>
            <pc:sldMk cId="3481125458" sldId="2146847680"/>
            <ac:grpSpMk id="52" creationId="{10C33072-E1E6-4E80-87AA-49FB21D08879}"/>
          </ac:grpSpMkLst>
        </pc:grpChg>
        <pc:grpChg chg="add mod">
          <ac:chgData name="Krysta" userId="9244f7b8-c8dd-42c9-82f4-0cc36500d639" providerId="ADAL" clId="{1849F4E2-0CC7-415C-8DE4-60B651D88368}" dt="2021-12-02T19:00:42.439" v="324" actId="1036"/>
          <ac:grpSpMkLst>
            <pc:docMk/>
            <pc:sldMk cId="3481125458" sldId="2146847680"/>
            <ac:grpSpMk id="53" creationId="{6040AD3C-72C0-4E4C-99B8-0BC658CD553A}"/>
          </ac:grpSpMkLst>
        </pc:grpChg>
        <pc:grpChg chg="add mod">
          <ac:chgData name="Krysta" userId="9244f7b8-c8dd-42c9-82f4-0cc36500d639" providerId="ADAL" clId="{1849F4E2-0CC7-415C-8DE4-60B651D88368}" dt="2021-12-02T19:00:37.768" v="322" actId="1036"/>
          <ac:grpSpMkLst>
            <pc:docMk/>
            <pc:sldMk cId="3481125458" sldId="2146847680"/>
            <ac:grpSpMk id="54" creationId="{37985CCD-9413-479A-86E4-9F7BE0AE15A1}"/>
          </ac:grpSpMkLst>
        </pc:grpChg>
        <pc:cxnChg chg="mod topLvl">
          <ac:chgData name="Krysta" userId="9244f7b8-c8dd-42c9-82f4-0cc36500d639" providerId="ADAL" clId="{1849F4E2-0CC7-415C-8DE4-60B651D88368}" dt="2021-12-02T18:59:55.127" v="305" actId="164"/>
          <ac:cxnSpMkLst>
            <pc:docMk/>
            <pc:sldMk cId="3481125458" sldId="2146847680"/>
            <ac:cxnSpMk id="7" creationId="{9DBD36B3-5888-40D5-A588-6E5F457EE776}"/>
          </ac:cxnSpMkLst>
        </pc:cxnChg>
        <pc:cxnChg chg="add mod topLvl">
          <ac:chgData name="Krysta" userId="9244f7b8-c8dd-42c9-82f4-0cc36500d639" providerId="ADAL" clId="{1849F4E2-0CC7-415C-8DE4-60B651D88368}" dt="2021-12-02T18:59:19.621" v="291" actId="164"/>
          <ac:cxnSpMkLst>
            <pc:docMk/>
            <pc:sldMk cId="3481125458" sldId="2146847680"/>
            <ac:cxnSpMk id="9" creationId="{44852DD8-9436-485E-BF5B-99142951979F}"/>
          </ac:cxnSpMkLst>
        </pc:cxnChg>
        <pc:cxnChg chg="add mod topLvl">
          <ac:chgData name="Krysta" userId="9244f7b8-c8dd-42c9-82f4-0cc36500d639" providerId="ADAL" clId="{1849F4E2-0CC7-415C-8DE4-60B651D88368}" dt="2021-12-02T19:00:34.182" v="317" actId="164"/>
          <ac:cxnSpMkLst>
            <pc:docMk/>
            <pc:sldMk cId="3481125458" sldId="2146847680"/>
            <ac:cxnSpMk id="16" creationId="{F110F8A3-4501-472D-AD68-BACB91CD37B3}"/>
          </ac:cxnSpMkLst>
        </pc:cxnChg>
        <pc:cxnChg chg="add mod topLvl">
          <ac:chgData name="Krysta" userId="9244f7b8-c8dd-42c9-82f4-0cc36500d639" providerId="ADAL" clId="{1849F4E2-0CC7-415C-8DE4-60B651D88368}" dt="2021-12-02T18:58:53.142" v="275" actId="164"/>
          <ac:cxnSpMkLst>
            <pc:docMk/>
            <pc:sldMk cId="3481125458" sldId="2146847680"/>
            <ac:cxnSpMk id="28" creationId="{6A73947F-0A6E-43EA-8A13-83520B6E7DEB}"/>
          </ac:cxnSpMkLst>
        </pc:cxnChg>
      </pc:sldChg>
      <pc:sldChg chg="addSp delSp modSp new add del mod">
        <pc:chgData name="Krysta" userId="9244f7b8-c8dd-42c9-82f4-0cc36500d639" providerId="ADAL" clId="{1849F4E2-0CC7-415C-8DE4-60B651D88368}" dt="2021-12-02T18:55:05.914" v="217" actId="207"/>
        <pc:sldMkLst>
          <pc:docMk/>
          <pc:sldMk cId="3158526561" sldId="2146847681"/>
        </pc:sldMkLst>
        <pc:spChg chg="mod">
          <ac:chgData name="Krysta" userId="9244f7b8-c8dd-42c9-82f4-0cc36500d639" providerId="ADAL" clId="{1849F4E2-0CC7-415C-8DE4-60B651D88368}" dt="2021-12-02T18:46:12.071" v="99"/>
          <ac:spMkLst>
            <pc:docMk/>
            <pc:sldMk cId="3158526561" sldId="2146847681"/>
            <ac:spMk id="2" creationId="{A0BF0439-4F6C-4F92-B93A-5A5E46434B53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9" creationId="{4F58E67B-C21C-4024-826C-356B1EE70E30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0" creationId="{7D0D2107-9487-4A84-8F09-CEF0EFC901AE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1" creationId="{46025786-13F6-432F-8EE9-5AD1CCC24D84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13" creationId="{CABC9476-A866-4BFD-AEDF-C1AC35A6DB84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4" creationId="{AB6E3193-1D81-4251-A312-C718DA94A1CB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5" creationId="{11EEC16D-2BE7-4B81-864E-FE8DC21F806C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17" creationId="{BA46407D-F8FD-483C-9898-CC407E3B2367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18" creationId="{2BF2F77B-EC95-47CB-BB0A-9172733D260E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19" creationId="{357F4F15-4100-421D-838D-AE7A7E1E08FC}"/>
          </ac:spMkLst>
        </pc:spChg>
        <pc:spChg chg="mod topLvl">
          <ac:chgData name="Krysta" userId="9244f7b8-c8dd-42c9-82f4-0cc36500d639" providerId="ADAL" clId="{1849F4E2-0CC7-415C-8DE4-60B651D88368}" dt="2021-12-02T18:48:53.600" v="108" actId="552"/>
          <ac:spMkLst>
            <pc:docMk/>
            <pc:sldMk cId="3158526561" sldId="2146847681"/>
            <ac:spMk id="21" creationId="{9B120283-EF73-4CC8-BC4C-1154424F441E}"/>
          </ac:spMkLst>
        </pc:spChg>
        <pc:spChg chg="mod topLvl">
          <ac:chgData name="Krysta" userId="9244f7b8-c8dd-42c9-82f4-0cc36500d639" providerId="ADAL" clId="{1849F4E2-0CC7-415C-8DE4-60B651D88368}" dt="2021-12-02T18:55:05.914" v="217" actId="207"/>
          <ac:spMkLst>
            <pc:docMk/>
            <pc:sldMk cId="3158526561" sldId="2146847681"/>
            <ac:spMk id="22" creationId="{F0868F2F-3308-49ED-B317-446F36560BF3}"/>
          </ac:spMkLst>
        </pc:spChg>
        <pc:spChg chg="mod topLvl">
          <ac:chgData name="Krysta" userId="9244f7b8-c8dd-42c9-82f4-0cc36500d639" providerId="ADAL" clId="{1849F4E2-0CC7-415C-8DE4-60B651D88368}" dt="2021-12-02T18:49:12.807" v="113" actId="552"/>
          <ac:spMkLst>
            <pc:docMk/>
            <pc:sldMk cId="3158526561" sldId="2146847681"/>
            <ac:spMk id="23" creationId="{3722B6AA-99BE-41FC-B787-1DDD56E85EBC}"/>
          </ac:spMkLst>
        </pc:s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8" creationId="{B287034A-5A06-4E69-B9B4-87CDC80FC4C7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12" creationId="{00084868-11A2-44F5-BC34-7C9AD9BA50B4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16" creationId="{33BA6237-352E-4007-87A9-46C65B967DC0}"/>
          </ac:grpSpMkLst>
        </pc:grpChg>
        <pc:grpChg chg="add del mod">
          <ac:chgData name="Krysta" userId="9244f7b8-c8dd-42c9-82f4-0cc36500d639" providerId="ADAL" clId="{1849F4E2-0CC7-415C-8DE4-60B651D88368}" dt="2021-12-02T18:46:37.565" v="102" actId="165"/>
          <ac:grpSpMkLst>
            <pc:docMk/>
            <pc:sldMk cId="3158526561" sldId="2146847681"/>
            <ac:grpSpMk id="20" creationId="{68F2CFAF-4F89-45A0-A5FF-2268DD855624}"/>
          </ac:grpSpMkLst>
        </pc:grpChg>
        <pc:picChg chg="add del">
          <ac:chgData name="Krysta" userId="9244f7b8-c8dd-42c9-82f4-0cc36500d639" providerId="ADAL" clId="{1849F4E2-0CC7-415C-8DE4-60B651D88368}" dt="2021-12-02T18:46:07.980" v="96" actId="22"/>
          <ac:picMkLst>
            <pc:docMk/>
            <pc:sldMk cId="3158526561" sldId="2146847681"/>
            <ac:picMk id="7" creationId="{E378781F-7C79-480F-BC86-1910F94E7E35}"/>
          </ac:picMkLst>
        </pc:picChg>
      </pc:sldChg>
      <pc:sldChg chg="addSp modSp new mod">
        <pc:chgData name="Krysta" userId="9244f7b8-c8dd-42c9-82f4-0cc36500d639" providerId="ADAL" clId="{1849F4E2-0CC7-415C-8DE4-60B651D88368}" dt="2021-12-02T18:51:42.259" v="159" actId="14100"/>
        <pc:sldMkLst>
          <pc:docMk/>
          <pc:sldMk cId="1292170880" sldId="2146847682"/>
        </pc:sldMkLst>
        <pc:spChg chg="mod">
          <ac:chgData name="Krysta" userId="9244f7b8-c8dd-42c9-82f4-0cc36500d639" providerId="ADAL" clId="{1849F4E2-0CC7-415C-8DE4-60B651D88368}" dt="2021-12-02T18:51:15.212" v="132" actId="20577"/>
          <ac:spMkLst>
            <pc:docMk/>
            <pc:sldMk cId="1292170880" sldId="2146847682"/>
            <ac:spMk id="2" creationId="{6FC39EF3-7E98-4023-AF95-09EDD4695353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7" creationId="{3DED64A2-40E5-4BCF-A218-556D1C783385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8" creationId="{325146A1-D1BF-4CEC-AAC8-0B3DFA8EA5DF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9" creationId="{92673752-9392-4A97-AC3C-512A99FD6647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2" creationId="{10EA4B48-9B67-4C59-83D4-26A9621D789C}"/>
          </ac:spMkLst>
        </pc:spChg>
        <pc:spChg chg="add mod">
          <ac:chgData name="Krysta" userId="9244f7b8-c8dd-42c9-82f4-0cc36500d639" providerId="ADAL" clId="{1849F4E2-0CC7-415C-8DE4-60B651D88368}" dt="2021-12-02T18:51:33.423" v="155" actId="12788"/>
          <ac:spMkLst>
            <pc:docMk/>
            <pc:sldMk cId="1292170880" sldId="2146847682"/>
            <ac:spMk id="13" creationId="{FFEE94AD-1C52-498A-B9A2-05717B2A5680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5" creationId="{72425727-0296-4A64-8E35-0C36105FB221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16" creationId="{94F685E5-CFE0-45A9-B521-19E67785DEB3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22" creationId="{FD24D52A-5F1B-41EC-8C00-5EC37A693838}"/>
          </ac:spMkLst>
        </pc:spChg>
        <pc:spChg chg="add mod">
          <ac:chgData name="Krysta" userId="9244f7b8-c8dd-42c9-82f4-0cc36500d639" providerId="ADAL" clId="{1849F4E2-0CC7-415C-8DE4-60B651D88368}" dt="2021-12-02T18:51:23.812" v="150" actId="1035"/>
          <ac:spMkLst>
            <pc:docMk/>
            <pc:sldMk cId="1292170880" sldId="2146847682"/>
            <ac:spMk id="24" creationId="{8F4A4489-1945-4A25-AE3D-022756567DE1}"/>
          </ac:spMkLst>
        </pc:spChg>
        <pc:spChg chg="add mod">
          <ac:chgData name="Krysta" userId="9244f7b8-c8dd-42c9-82f4-0cc36500d639" providerId="ADAL" clId="{1849F4E2-0CC7-415C-8DE4-60B651D88368}" dt="2021-12-02T18:51:42.259" v="159" actId="14100"/>
          <ac:spMkLst>
            <pc:docMk/>
            <pc:sldMk cId="1292170880" sldId="2146847682"/>
            <ac:spMk id="25" creationId="{6AF35A35-6E79-41BD-82F9-97B8B3943AFE}"/>
          </ac:spMkLst>
        </pc:sp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6" creationId="{C0281C63-4F32-4AC8-AE2B-9707B6A48B6B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0" creationId="{B27D5254-CF88-4452-A32A-10D8A6575A1F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1" creationId="{2AAA34DB-B40A-4FD6-AC04-78F60A08A3A9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4" creationId="{51CC341B-41B7-44D9-8AE4-4B852AD7B86E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7" creationId="{FD60898F-E22C-4DCE-8C12-BD6DD4B5322F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8" creationId="{2B34A281-B4B0-442D-8CA4-0E066FE032B4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19" creationId="{84AC4B33-D1FC-4C41-8853-9489CE39BDD3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0" creationId="{DA74A802-5872-448E-A72C-72B5A0272D2B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1" creationId="{C744A28C-F529-4750-ACA1-E5A334553520}"/>
          </ac:cxnSpMkLst>
        </pc:cxnChg>
        <pc:cxnChg chg="add mod">
          <ac:chgData name="Krysta" userId="9244f7b8-c8dd-42c9-82f4-0cc36500d639" providerId="ADAL" clId="{1849F4E2-0CC7-415C-8DE4-60B651D88368}" dt="2021-12-02T18:51:23.812" v="150" actId="1035"/>
          <ac:cxnSpMkLst>
            <pc:docMk/>
            <pc:sldMk cId="1292170880" sldId="2146847682"/>
            <ac:cxnSpMk id="23" creationId="{098CC335-4CAB-49A8-BBCA-E54646519465}"/>
          </ac:cxnSpMkLst>
        </pc:cxnChg>
      </pc:sldChg>
      <pc:sldChg chg="addSp modSp new mod">
        <pc:chgData name="Krysta" userId="9244f7b8-c8dd-42c9-82f4-0cc36500d639" providerId="ADAL" clId="{1849F4E2-0CC7-415C-8DE4-60B651D88368}" dt="2021-12-02T18:53:29.376" v="214" actId="554"/>
        <pc:sldMkLst>
          <pc:docMk/>
          <pc:sldMk cId="2466140407" sldId="2146847683"/>
        </pc:sldMkLst>
        <pc:spChg chg="mod">
          <ac:chgData name="Krysta" userId="9244f7b8-c8dd-42c9-82f4-0cc36500d639" providerId="ADAL" clId="{1849F4E2-0CC7-415C-8DE4-60B651D88368}" dt="2021-12-02T18:51:52.816" v="182" actId="20577"/>
          <ac:spMkLst>
            <pc:docMk/>
            <pc:sldMk cId="2466140407" sldId="2146847683"/>
            <ac:spMk id="2" creationId="{F7A14744-33D2-44E2-9BBE-D01DAA1EB8B3}"/>
          </ac:spMkLst>
        </pc:spChg>
        <pc:spChg chg="add mod">
          <ac:chgData name="Krysta" userId="9244f7b8-c8dd-42c9-82f4-0cc36500d639" providerId="ADAL" clId="{1849F4E2-0CC7-415C-8DE4-60B651D88368}" dt="2021-12-02T18:53:04.813" v="199" actId="12789"/>
          <ac:spMkLst>
            <pc:docMk/>
            <pc:sldMk cId="2466140407" sldId="2146847683"/>
            <ac:spMk id="6" creationId="{E6A4DC2D-EEE9-4F7B-871D-A0577D733A29}"/>
          </ac:spMkLst>
        </pc:spChg>
        <pc:spChg chg="add mod">
          <ac:chgData name="Krysta" userId="9244f7b8-c8dd-42c9-82f4-0cc36500d639" providerId="ADAL" clId="{1849F4E2-0CC7-415C-8DE4-60B651D88368}" dt="2021-12-02T18:52:18.885" v="187" actId="208"/>
          <ac:spMkLst>
            <pc:docMk/>
            <pc:sldMk cId="2466140407" sldId="2146847683"/>
            <ac:spMk id="7" creationId="{D7753921-B41E-4E6E-8972-588FDE81CC76}"/>
          </ac:spMkLst>
        </pc:spChg>
        <pc:spChg chg="add mod">
          <ac:chgData name="Krysta" userId="9244f7b8-c8dd-42c9-82f4-0cc36500d639" providerId="ADAL" clId="{1849F4E2-0CC7-415C-8DE4-60B651D88368}" dt="2021-12-02T18:52:59.408" v="198" actId="12789"/>
          <ac:spMkLst>
            <pc:docMk/>
            <pc:sldMk cId="2466140407" sldId="2146847683"/>
            <ac:spMk id="8" creationId="{B330EDFE-C757-49C8-B84E-7D1F66DB7FE3}"/>
          </ac:spMkLst>
        </pc:spChg>
        <pc:spChg chg="add mod">
          <ac:chgData name="Krysta" userId="9244f7b8-c8dd-42c9-82f4-0cc36500d639" providerId="ADAL" clId="{1849F4E2-0CC7-415C-8DE4-60B651D88368}" dt="2021-12-02T18:52:16.986" v="186" actId="208"/>
          <ac:spMkLst>
            <pc:docMk/>
            <pc:sldMk cId="2466140407" sldId="2146847683"/>
            <ac:spMk id="9" creationId="{C8D1E1B8-61C4-45C5-ADE8-32C378E4EBD5}"/>
          </ac:spMkLst>
        </pc:spChg>
        <pc:spChg chg="add mod">
          <ac:chgData name="Krysta" userId="9244f7b8-c8dd-42c9-82f4-0cc36500d639" providerId="ADAL" clId="{1849F4E2-0CC7-415C-8DE4-60B651D88368}" dt="2021-12-02T18:53:10.638" v="200" actId="12789"/>
          <ac:spMkLst>
            <pc:docMk/>
            <pc:sldMk cId="2466140407" sldId="2146847683"/>
            <ac:spMk id="10" creationId="{D26A2416-3ADB-4A01-8DA4-1704D605AB83}"/>
          </ac:spMkLst>
        </pc:spChg>
        <pc:spChg chg="add mod">
          <ac:chgData name="Krysta" userId="9244f7b8-c8dd-42c9-82f4-0cc36500d639" providerId="ADAL" clId="{1849F4E2-0CC7-415C-8DE4-60B651D88368}" dt="2021-12-02T18:52:28.058" v="190" actId="207"/>
          <ac:spMkLst>
            <pc:docMk/>
            <pc:sldMk cId="2466140407" sldId="2146847683"/>
            <ac:spMk id="11" creationId="{92F14338-3417-4EFB-9BF8-ADD290FCD759}"/>
          </ac:spMkLst>
        </pc:spChg>
        <pc:spChg chg="add mod">
          <ac:chgData name="Krysta" userId="9244f7b8-c8dd-42c9-82f4-0cc36500d639" providerId="ADAL" clId="{1849F4E2-0CC7-415C-8DE4-60B651D88368}" dt="2021-12-02T18:53:15.946" v="201" actId="12789"/>
          <ac:spMkLst>
            <pc:docMk/>
            <pc:sldMk cId="2466140407" sldId="2146847683"/>
            <ac:spMk id="12" creationId="{CE36C445-DD09-4B46-8FCE-720C090D57C1}"/>
          </ac:spMkLst>
        </pc:spChg>
        <pc:spChg chg="add mod">
          <ac:chgData name="Krysta" userId="9244f7b8-c8dd-42c9-82f4-0cc36500d639" providerId="ADAL" clId="{1849F4E2-0CC7-415C-8DE4-60B651D88368}" dt="2021-12-02T18:52:21.031" v="188" actId="208"/>
          <ac:spMkLst>
            <pc:docMk/>
            <pc:sldMk cId="2466140407" sldId="2146847683"/>
            <ac:spMk id="13" creationId="{E8BCB9AD-091A-41DF-ACB4-B652AA59AC50}"/>
          </ac:spMkLst>
        </pc:spChg>
        <pc:spChg chg="add mod">
          <ac:chgData name="Krysta" userId="9244f7b8-c8dd-42c9-82f4-0cc36500d639" providerId="ADAL" clId="{1849F4E2-0CC7-415C-8DE4-60B651D88368}" dt="2021-12-02T18:53:29.376" v="214" actId="554"/>
          <ac:spMkLst>
            <pc:docMk/>
            <pc:sldMk cId="2466140407" sldId="2146847683"/>
            <ac:spMk id="15" creationId="{57A43774-1610-4D53-949D-9640F38FD558}"/>
          </ac:spMkLst>
        </pc:spChg>
        <pc:spChg chg="add mod">
          <ac:chgData name="Krysta" userId="9244f7b8-c8dd-42c9-82f4-0cc36500d639" providerId="ADAL" clId="{1849F4E2-0CC7-415C-8DE4-60B651D88368}" dt="2021-12-02T18:53:23.901" v="213" actId="1035"/>
          <ac:spMkLst>
            <pc:docMk/>
            <pc:sldMk cId="2466140407" sldId="2146847683"/>
            <ac:spMk id="16" creationId="{F6DC2B38-A22C-4731-AC28-AE7F0C8503A1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18" creationId="{DC7F6416-85A4-49D4-9DB3-DC9829F5659B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19" creationId="{94C0001A-139E-4B89-AB92-64E9AC1BE322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0" creationId="{EEE845C6-89F9-4CBC-AC06-B4094B7ED4D1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1" creationId="{5E3B44C9-993B-4715-BFB6-54F070D52843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2" creationId="{EF30A1BE-C3AD-4F4D-957B-755FAFCABE72}"/>
          </ac:spMkLst>
        </pc:spChg>
        <pc:spChg chg="mod">
          <ac:chgData name="Krysta" userId="9244f7b8-c8dd-42c9-82f4-0cc36500d639" providerId="ADAL" clId="{1849F4E2-0CC7-415C-8DE4-60B651D88368}" dt="2021-12-02T18:51:56.493" v="183"/>
          <ac:spMkLst>
            <pc:docMk/>
            <pc:sldMk cId="2466140407" sldId="2146847683"/>
            <ac:spMk id="23" creationId="{16648571-3CA7-4D16-AF78-0D3B5CD69B9C}"/>
          </ac:spMkLst>
        </pc:spChg>
        <pc:spChg chg="add mod">
          <ac:chgData name="Krysta" userId="9244f7b8-c8dd-42c9-82f4-0cc36500d639" providerId="ADAL" clId="{1849F4E2-0CC7-415C-8DE4-60B651D88368}" dt="2021-12-02T18:53:23.901" v="213" actId="1035"/>
          <ac:spMkLst>
            <pc:docMk/>
            <pc:sldMk cId="2466140407" sldId="2146847683"/>
            <ac:spMk id="24" creationId="{B621E4CB-4A4F-46B3-8E4A-821634C8A1AA}"/>
          </ac:spMkLst>
        </pc:spChg>
        <pc:spChg chg="add mod">
          <ac:chgData name="Krysta" userId="9244f7b8-c8dd-42c9-82f4-0cc36500d639" providerId="ADAL" clId="{1849F4E2-0CC7-415C-8DE4-60B651D88368}" dt="2021-12-02T18:53:29.376" v="214" actId="554"/>
          <ac:spMkLst>
            <pc:docMk/>
            <pc:sldMk cId="2466140407" sldId="2146847683"/>
            <ac:spMk id="25" creationId="{E9E5FCC4-F7F9-4294-8D99-F84744DA75DB}"/>
          </ac:spMkLst>
        </pc:spChg>
        <pc:spChg chg="add mod">
          <ac:chgData name="Krysta" userId="9244f7b8-c8dd-42c9-82f4-0cc36500d639" providerId="ADAL" clId="{1849F4E2-0CC7-415C-8DE4-60B651D88368}" dt="2021-12-02T18:53:04.813" v="199" actId="12789"/>
          <ac:spMkLst>
            <pc:docMk/>
            <pc:sldMk cId="2466140407" sldId="2146847683"/>
            <ac:spMk id="26" creationId="{5DA93ADA-6CBB-49C1-9771-B9963483BAF6}"/>
          </ac:spMkLst>
        </pc:spChg>
        <pc:spChg chg="add mod">
          <ac:chgData name="Krysta" userId="9244f7b8-c8dd-42c9-82f4-0cc36500d639" providerId="ADAL" clId="{1849F4E2-0CC7-415C-8DE4-60B651D88368}" dt="2021-12-02T18:53:15.946" v="201" actId="12789"/>
          <ac:spMkLst>
            <pc:docMk/>
            <pc:sldMk cId="2466140407" sldId="2146847683"/>
            <ac:spMk id="27" creationId="{4B332308-BE36-4F59-B5C8-432DB02B9B8B}"/>
          </ac:spMkLst>
        </pc:spChg>
        <pc:grpChg chg="add mod">
          <ac:chgData name="Krysta" userId="9244f7b8-c8dd-42c9-82f4-0cc36500d639" providerId="ADAL" clId="{1849F4E2-0CC7-415C-8DE4-60B651D88368}" dt="2021-12-02T18:53:10.638" v="200" actId="12789"/>
          <ac:grpSpMkLst>
            <pc:docMk/>
            <pc:sldMk cId="2466140407" sldId="2146847683"/>
            <ac:grpSpMk id="17" creationId="{2A30750D-4326-4B1C-9E1C-48E2C48D5C8D}"/>
          </ac:grpSpMkLst>
        </pc:grpChg>
        <pc:picChg chg="add mod">
          <ac:chgData name="Krysta" userId="9244f7b8-c8dd-42c9-82f4-0cc36500d639" providerId="ADAL" clId="{1849F4E2-0CC7-415C-8DE4-60B651D88368}" dt="2021-12-02T18:52:59.408" v="198" actId="12789"/>
          <ac:picMkLst>
            <pc:docMk/>
            <pc:sldMk cId="2466140407" sldId="2146847683"/>
            <ac:picMk id="14" creationId="{CBDC275D-4798-4785-8012-4BF0118BA7FD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2658F63A-940C-4E55-A479-A0499EA9FC6A}" type="datetimeFigureOut">
              <a:rPr lang="en-US" smtClean="0"/>
              <a:t>2/2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704850"/>
            <a:ext cx="6254750" cy="3519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459526"/>
            <a:ext cx="5681980" cy="4224814"/>
          </a:xfrm>
          <a:prstGeom prst="rect">
            <a:avLst/>
          </a:prstGeom>
        </p:spPr>
        <p:txBody>
          <a:bodyPr vert="horz" lIns="94229" tIns="47114" rIns="94229" bIns="471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69424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51E8D6EA-BFB4-46D9-AE29-A37DC2FD682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60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49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898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48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797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46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6960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453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5947" algn="l" defTabSz="12189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666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936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3995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1E8D6EA-BFB4-46D9-AE29-A37DC2FD6823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7802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7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5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6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3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3.xml"/><Relationship Id="rId4" Type="http://schemas.openxmlformats.org/officeDocument/2006/relationships/image" Target="../media/image6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4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9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0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8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9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6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7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9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9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0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5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5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5" Type="http://schemas.openxmlformats.org/officeDocument/2006/relationships/image" Target="../media/image13.jpeg"/><Relationship Id="rId4" Type="http://schemas.openxmlformats.org/officeDocument/2006/relationships/image" Target="../media/image5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6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2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6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441" y="6518275"/>
            <a:ext cx="2844059" cy="365125"/>
          </a:xfrm>
        </p:spPr>
        <p:txBody>
          <a:bodyPr/>
          <a:lstStyle/>
          <a:p>
            <a:fld id="{2FD3F161-6630-4C97-BB97-03FC46C38CEA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4515" y="6518275"/>
            <a:ext cx="3859795" cy="365125"/>
          </a:xfrm>
        </p:spPr>
        <p:txBody>
          <a:bodyPr/>
          <a:lstStyle>
            <a:lvl1pPr>
              <a:defRPr sz="9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5325" y="6518275"/>
            <a:ext cx="2844059" cy="365125"/>
          </a:xfrm>
        </p:spPr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1334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008F6E-4F9F-44DB-B455-7728627C20C8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408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6898" y="206374"/>
            <a:ext cx="2742486" cy="438785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206374"/>
            <a:ext cx="8024310" cy="438785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E90718-0528-4DD8-BADE-1AAE5E2BEFFF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213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138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226984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462565" y="1219201"/>
            <a:ext cx="11097773" cy="5125577"/>
          </a:xfrm>
          <a:prstGeom prst="rect">
            <a:avLst/>
          </a:prstGeom>
        </p:spPr>
        <p:txBody>
          <a:bodyPr/>
          <a:lstStyle>
            <a:lvl1pPr>
              <a:buClrTx/>
              <a:defRPr sz="2000" b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body</a:t>
            </a:r>
          </a:p>
        </p:txBody>
      </p:sp>
    </p:spTree>
    <p:extLst>
      <p:ext uri="{BB962C8B-B14F-4D97-AF65-F5344CB8AC3E}">
        <p14:creationId xmlns:p14="http://schemas.microsoft.com/office/powerpoint/2010/main" val="395978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588880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2564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00722" y="1219200"/>
            <a:ext cx="5459615" cy="51816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69263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03304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6" name="Straight Connector 25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040963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9"/>
            <a:ext cx="11112780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606288"/>
            <a:ext cx="1011487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000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1391410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62564" y="1544274"/>
            <a:ext cx="3451501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024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896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737" y="3680016"/>
            <a:ext cx="11573289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6E03F-4E65-4016-87BB-3A712B41FC4A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902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9210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0472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6859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7003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7297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16408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80465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3687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516949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55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608324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687952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54025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700">
                <a:solidFill>
                  <a:schemeClr val="tx1">
                    <a:tint val="75000"/>
                  </a:schemeClr>
                </a:solidFill>
              </a:defRPr>
            </a:lvl1pPr>
            <a:lvl2pPr marL="609493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8987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82848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4pPr>
            <a:lvl5pPr marL="243797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5pPr>
            <a:lvl6pPr marL="304746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6pPr>
            <a:lvl7pPr marL="3656960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7pPr>
            <a:lvl8pPr marL="4266453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8pPr>
            <a:lvl9pPr marL="4875947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516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99674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4672429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210671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358462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622800"/>
            <a:ext cx="6255171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22672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119462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270833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4" imgH="324" progId="TCLayout.ActiveDocument.1">
                  <p:embed/>
                </p:oleObj>
              </mc:Choice>
              <mc:Fallback>
                <p:oleObj name="think-cell Slide" r:id="rId3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99808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62564" y="535714"/>
            <a:ext cx="9836654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59444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370540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167094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24906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200151"/>
            <a:ext cx="5383398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986" y="1200151"/>
            <a:ext cx="5383398" cy="3394075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844537-4084-4F54-B6B7-37717E8465FB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865832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71653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200" b="1" i="0" baseline="0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1247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8886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44368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28541" y="1614340"/>
            <a:ext cx="2471093" cy="281103"/>
          </a:xfrm>
        </p:spPr>
        <p:txBody>
          <a:bodyPr wrap="square">
            <a:spAutoFit/>
          </a:bodyPr>
          <a:lstStyle>
            <a:lvl1pPr>
              <a:defRPr lang="en-US" sz="18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800" smtClean="0">
                <a:solidFill>
                  <a:schemeClr val="tx1"/>
                </a:solidFill>
              </a:defRPr>
            </a:lvl4pPr>
            <a:lvl5pPr>
              <a:defRPr lang="en-US" sz="1800"/>
            </a:lvl5pPr>
          </a:lstStyle>
          <a:p>
            <a:pPr lvl="0" defTabSz="914126"/>
            <a:r>
              <a:rPr lang="en-US"/>
              <a:t>Click to add date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3" name="Title 2"/>
          <p:cNvSpPr>
            <a:spLocks noGrp="1"/>
          </p:cNvSpPr>
          <p:nvPr>
            <p:ph type="title" hasCustomPrompt="1"/>
          </p:nvPr>
        </p:nvSpPr>
        <p:spPr>
          <a:xfrm>
            <a:off x="228540" y="533400"/>
            <a:ext cx="7940618" cy="443198"/>
          </a:xfrm>
        </p:spPr>
        <p:txBody>
          <a:bodyPr wrap="square">
            <a:spAutoFit/>
          </a:bodyPr>
          <a:lstStyle>
            <a:lvl1pPr>
              <a:defRPr lang="en-US" sz="3200" b="1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defTabSz="914126">
              <a:spcBef>
                <a:spcPts val="600"/>
              </a:spcBef>
            </a:pPr>
            <a:r>
              <a:rPr lang="en-US"/>
              <a:t>Click to add title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92367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168984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559" y="672002"/>
            <a:ext cx="10018932" cy="3323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559" y="2085628"/>
            <a:ext cx="1111278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447559" y="1143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47559" y="6477000"/>
            <a:ext cx="11112780" cy="0"/>
          </a:xfrm>
          <a:prstGeom prst="line">
            <a:avLst/>
          </a:prstGeom>
          <a:ln w="9525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447559" y="533400"/>
            <a:ext cx="10018932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447558" y="533400"/>
            <a:ext cx="7497397" cy="0"/>
          </a:xfrm>
          <a:prstGeom prst="line">
            <a:avLst/>
          </a:prstGeom>
          <a:ln w="12700">
            <a:solidFill>
              <a:srgbClr val="0C2D8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462564" y="304800"/>
            <a:ext cx="10003927" cy="228600"/>
          </a:xfrm>
        </p:spPr>
        <p:txBody>
          <a:bodyPr/>
          <a:lstStyle>
            <a:lvl1pPr>
              <a:defRPr kumimoji="0" lang="en-US" sz="1100" b="1" i="0" u="none" strike="noStrike" cap="none" spc="0" normalizeH="0" baseline="0" smtClean="0">
                <a:ln>
                  <a:noFill/>
                </a:ln>
                <a:solidFill>
                  <a:srgbClr val="00269E"/>
                </a:solidFill>
                <a:effectLst/>
                <a:uLnTx/>
                <a:uFillTx/>
                <a:latin typeface="+mn-lt"/>
                <a:cs typeface="Arial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R="0" lv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None/>
              <a:tabLst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4340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17578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3178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62565" y="2158988"/>
            <a:ext cx="3743025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57063" indent="0" algn="ctr">
              <a:buNone/>
              <a:defRPr sz="2000"/>
            </a:lvl2pPr>
            <a:lvl3pPr marL="914126" indent="0" algn="ctr">
              <a:buNone/>
              <a:defRPr sz="1800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1227049"/>
            <a:ext cx="3743025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39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487565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408" y="2668041"/>
            <a:ext cx="9617986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360" y="1424082"/>
            <a:ext cx="951473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347469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29836" y="3826800"/>
            <a:ext cx="10933952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29836" y="3680016"/>
            <a:ext cx="1155557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White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599010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3936" y="0"/>
            <a:ext cx="416842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844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176603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3741" y="0"/>
            <a:ext cx="41684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00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7489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6" y="1535113"/>
            <a:ext cx="5387630" cy="639763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609493" indent="0">
              <a:buNone/>
              <a:defRPr sz="2700" b="1"/>
            </a:lvl2pPr>
            <a:lvl3pPr marL="1218987" indent="0">
              <a:buNone/>
              <a:defRPr sz="2400" b="1"/>
            </a:lvl3pPr>
            <a:lvl4pPr marL="1828480" indent="0">
              <a:buNone/>
              <a:defRPr sz="2100" b="1"/>
            </a:lvl4pPr>
            <a:lvl5pPr marL="2437973" indent="0">
              <a:buNone/>
              <a:defRPr sz="2100" b="1"/>
            </a:lvl5pPr>
            <a:lvl6pPr marL="3047467" indent="0">
              <a:buNone/>
              <a:defRPr sz="2100" b="1"/>
            </a:lvl6pPr>
            <a:lvl7pPr marL="3656960" indent="0">
              <a:buNone/>
              <a:defRPr sz="2100" b="1"/>
            </a:lvl7pPr>
            <a:lvl8pPr marL="4266453" indent="0">
              <a:buNone/>
              <a:defRPr sz="2100" b="1"/>
            </a:lvl8pPr>
            <a:lvl9pPr marL="487594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6" y="2174875"/>
            <a:ext cx="5387630" cy="3951288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1800"/>
            </a:lvl3pPr>
            <a:lvl4pPr>
              <a:defRPr sz="1600"/>
            </a:lvl4pPr>
            <a:lvl5pPr>
              <a:defRPr sz="12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DCE1DA-04C3-40F2-83BD-EF8F3FCDFE2C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96481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Four column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66131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6895" y="0"/>
            <a:ext cx="416842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191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809947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228071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62565" y="2681103"/>
            <a:ext cx="3127066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1571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8101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4412" y="0"/>
            <a:ext cx="6094413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0435" y="0"/>
            <a:ext cx="6098388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62565" y="1785600"/>
            <a:ext cx="4387257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2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6220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7920" y="0"/>
            <a:ext cx="416842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7507" y="0"/>
            <a:ext cx="43713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17989" y="0"/>
            <a:ext cx="4370836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62565" y="1785600"/>
            <a:ext cx="624592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20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902128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626" y="3590399"/>
            <a:ext cx="1364894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left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6348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Freeform 14"/>
          <p:cNvSpPr/>
          <p:nvPr userDrawn="1"/>
        </p:nvSpPr>
        <p:spPr bwMode="ltGray">
          <a:xfrm>
            <a:off x="1524" y="131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62564" y="2764204"/>
            <a:ext cx="2477993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076" y="3402829"/>
            <a:ext cx="2693964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97125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0332" y="3394393"/>
            <a:ext cx="1298237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7856718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4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5507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1785600"/>
            <a:ext cx="4061177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1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7127" y="3416300"/>
            <a:ext cx="2693964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156268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401" y="3589606"/>
            <a:ext cx="1364894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5799397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entagon 8"/>
          <p:cNvSpPr/>
          <p:nvPr/>
        </p:nvSpPr>
        <p:spPr bwMode="white">
          <a:xfrm>
            <a:off x="0" y="0"/>
            <a:ext cx="6361889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62564" y="622801"/>
            <a:ext cx="474658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59011" y="3407804"/>
            <a:ext cx="2693964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59190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87885322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8389" y="3589606"/>
            <a:ext cx="1364894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een arrow two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92470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1" y="0"/>
            <a:ext cx="84440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6252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5918" y="3407804"/>
            <a:ext cx="2693964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9016255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5526653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29836" y="625475"/>
            <a:ext cx="932445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29836" y="3826333"/>
            <a:ext cx="10930353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126" rtl="0" eaLnBrk="1" fontAlgn="auto" latinLnBrk="0" hangingPunct="1">
              <a:lnSpc>
                <a:spcPts val="5998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434517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5591" y="102748"/>
            <a:ext cx="769257" cy="10017212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12188825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pecial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400781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2565" y="622801"/>
            <a:ext cx="996418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436398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48118"/>
            <a:ext cx="3066558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b="1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8753074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3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25354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0025999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322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D2A094-00D9-4134-8C3E-74B4AAE1CF1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926868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02946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447" descr="Boston, Massachusetts, USA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6" t="9629" r="366" b="7252"/>
          <a:stretch/>
        </p:blipFill>
        <p:spPr bwMode="auto">
          <a:xfrm>
            <a:off x="0" y="-76198"/>
            <a:ext cx="12188825" cy="6934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 userDrawn="1"/>
        </p:nvSpPr>
        <p:spPr>
          <a:xfrm>
            <a:off x="3199567" y="6461829"/>
            <a:ext cx="57896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28540" y="533400"/>
            <a:ext cx="7940618" cy="4431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>
              <a:lnSpc>
                <a:spcPct val="90000"/>
              </a:lnSpc>
              <a:spcBef>
                <a:spcPts val="600"/>
              </a:spcBef>
              <a:buNone/>
              <a:defRPr sz="32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PH" dirty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2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140786"/>
              </p:ext>
            </p:extLst>
          </p:nvPr>
        </p:nvGraphicFramePr>
        <p:xfrm>
          <a:off x="1587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7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0625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1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+mn-lt"/>
                <a:ea typeface="+mn-ea"/>
                <a:cs typeface="+mn-cs"/>
                <a:sym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latin typeface="+mn-lt"/>
                  <a:ea typeface="+mn-ea"/>
                  <a:cs typeface="+mn-cs"/>
                  <a:sym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endParaRP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681616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29836" y="907198"/>
            <a:ext cx="3447902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1841" tIns="467878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6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907509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6761981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5766962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79701" y="-1309"/>
            <a:ext cx="8109125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29836" y="3207715"/>
            <a:ext cx="1546740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8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61012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7784" y="4691187"/>
            <a:ext cx="929095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8829" y="4691187"/>
            <a:ext cx="1569743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32" tIns="179953" rIns="182832" bIns="18283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29836" y="907199"/>
            <a:ext cx="3447902" cy="122046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1841" tIns="467878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068794" y="1115416"/>
            <a:ext cx="2569265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5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12769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409" y="1428131"/>
            <a:ext cx="947425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4865" y="2667600"/>
            <a:ext cx="9616695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94638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29836" y="622800"/>
            <a:ext cx="7188126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737" y="1206000"/>
            <a:ext cx="11573289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wo-Third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752546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0113" y="0"/>
            <a:ext cx="416842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79701" y="-1309"/>
            <a:ext cx="8109125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29836" y="3262146"/>
            <a:ext cx="1160745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Agenda</a:t>
            </a:r>
          </a:p>
        </p:txBody>
      </p:sp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3" y="273049"/>
            <a:ext cx="4010039" cy="1162051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2"/>
            <a:ext cx="6813892" cy="5853113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3" y="1435102"/>
            <a:ext cx="4010039" cy="46910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1D740A-1F50-49AB-8424-6D8B05DF0C8F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59444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765138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7247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29836" y="2577934"/>
            <a:ext cx="2818666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+mn-lt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3761" y="3921614"/>
            <a:ext cx="5133975" cy="987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7829" y="3586748"/>
            <a:ext cx="1364894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 descr="Image result for massachusetts seal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16592" y="213223"/>
            <a:ext cx="743747" cy="743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 Placeholder 6"/>
          <p:cNvSpPr txBox="1">
            <a:spLocks/>
          </p:cNvSpPr>
          <p:nvPr userDrawn="1"/>
        </p:nvSpPr>
        <p:spPr>
          <a:xfrm>
            <a:off x="10798537" y="6553200"/>
            <a:ext cx="761802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pPr algn="r" eaLnBrk="1" hangingPunct="1">
                <a:defRPr/>
              </a:pPr>
              <a:t>‹#›</a:t>
            </a:fld>
            <a:endParaRPr lang="en-US" altLang="en-US" sz="1000" dirty="0">
              <a:solidFill>
                <a:srgbClr val="FFFFFF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422601"/>
            <a:ext cx="11173090" cy="4221163"/>
          </a:xfrm>
        </p:spPr>
        <p:txBody>
          <a:bodyPr/>
          <a:lstStyle>
            <a:lvl1pPr>
              <a:buClr>
                <a:schemeClr val="tx1"/>
              </a:buClr>
              <a:defRPr>
                <a:latin typeface="Calibri" panose="020F0502020204030204" pitchFamily="34" charset="0"/>
              </a:defRPr>
            </a:lvl1pPr>
            <a:lvl2pPr marL="576090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2pPr>
            <a:lvl3pPr marL="914126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1261684" indent="-233293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1599720" indent="-223771">
              <a:buClr>
                <a:schemeClr val="tx1"/>
              </a:buClr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9611398" y="6594479"/>
            <a:ext cx="2577429" cy="2635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35CC764F-34DD-40DB-B424-6CB46B067597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6" name="Rectangle 15"/>
          <p:cNvSpPr>
            <a:spLocks noGrp="1" noChangeArrowheads="1"/>
          </p:cNvSpPr>
          <p:nvPr>
            <p:ph type="title"/>
          </p:nvPr>
        </p:nvSpPr>
        <p:spPr bwMode="auto">
          <a:xfrm>
            <a:off x="552307" y="824631"/>
            <a:ext cx="10309714" cy="424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448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4300"/>
            </a:lvl1pPr>
            <a:lvl2pPr marL="609493" indent="0">
              <a:buNone/>
              <a:defRPr sz="3700"/>
            </a:lvl2pPr>
            <a:lvl3pPr marL="1218987" indent="0">
              <a:buNone/>
              <a:defRPr sz="3200"/>
            </a:lvl3pPr>
            <a:lvl4pPr marL="1828480" indent="0">
              <a:buNone/>
              <a:defRPr sz="2700"/>
            </a:lvl4pPr>
            <a:lvl5pPr marL="2437973" indent="0">
              <a:buNone/>
              <a:defRPr sz="2700"/>
            </a:lvl5pPr>
            <a:lvl6pPr marL="3047467" indent="0">
              <a:buNone/>
              <a:defRPr sz="2700"/>
            </a:lvl6pPr>
            <a:lvl7pPr marL="3656960" indent="0">
              <a:buNone/>
              <a:defRPr sz="2700"/>
            </a:lvl7pPr>
            <a:lvl8pPr marL="4266453" indent="0">
              <a:buNone/>
              <a:defRPr sz="2700"/>
            </a:lvl8pPr>
            <a:lvl9pPr marL="4875947" indent="0">
              <a:buNone/>
              <a:defRPr sz="27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3"/>
          </a:xfrm>
        </p:spPr>
        <p:txBody>
          <a:bodyPr/>
          <a:lstStyle>
            <a:lvl1pPr marL="0" indent="0">
              <a:buNone/>
              <a:defRPr sz="1900"/>
            </a:lvl1pPr>
            <a:lvl2pPr marL="609493" indent="0">
              <a:buNone/>
              <a:defRPr sz="1600"/>
            </a:lvl2pPr>
            <a:lvl3pPr marL="1218987" indent="0">
              <a:buNone/>
              <a:defRPr sz="1300"/>
            </a:lvl3pPr>
            <a:lvl4pPr marL="1828480" indent="0">
              <a:buNone/>
              <a:defRPr sz="1200"/>
            </a:lvl4pPr>
            <a:lvl5pPr marL="2437973" indent="0">
              <a:buNone/>
              <a:defRPr sz="1200"/>
            </a:lvl5pPr>
            <a:lvl6pPr marL="3047467" indent="0">
              <a:buNone/>
              <a:defRPr sz="1200"/>
            </a:lvl6pPr>
            <a:lvl7pPr marL="3656960" indent="0">
              <a:buNone/>
              <a:defRPr sz="1200"/>
            </a:lvl7pPr>
            <a:lvl8pPr marL="4266453" indent="0">
              <a:buNone/>
              <a:defRPr sz="1200"/>
            </a:lvl8pPr>
            <a:lvl9pPr marL="487594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B725EF-CAF2-4517-B02B-12755CFD32B1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7776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32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63" Type="http://schemas.openxmlformats.org/officeDocument/2006/relationships/slideLayout" Target="../slideLayouts/slideLayout74.xml"/><Relationship Id="rId68" Type="http://schemas.openxmlformats.org/officeDocument/2006/relationships/slideLayout" Target="../slideLayouts/slideLayout79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9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slideLayout" Target="../slideLayouts/slideLayout64.xml"/><Relationship Id="rId58" Type="http://schemas.openxmlformats.org/officeDocument/2006/relationships/slideLayout" Target="../slideLayouts/slideLayout69.xml"/><Relationship Id="rId66" Type="http://schemas.openxmlformats.org/officeDocument/2006/relationships/slideLayout" Target="../slideLayouts/slideLayout77.xml"/><Relationship Id="rId74" Type="http://schemas.openxmlformats.org/officeDocument/2006/relationships/image" Target="../media/image2.png"/><Relationship Id="rId5" Type="http://schemas.openxmlformats.org/officeDocument/2006/relationships/slideLayout" Target="../slideLayouts/slideLayout16.xml"/><Relationship Id="rId61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56" Type="http://schemas.openxmlformats.org/officeDocument/2006/relationships/slideLayout" Target="../slideLayouts/slideLayout67.xml"/><Relationship Id="rId64" Type="http://schemas.openxmlformats.org/officeDocument/2006/relationships/slideLayout" Target="../slideLayouts/slideLayout75.xml"/><Relationship Id="rId69" Type="http://schemas.openxmlformats.org/officeDocument/2006/relationships/slideLayout" Target="../slideLayouts/slideLayout80.xml"/><Relationship Id="rId8" Type="http://schemas.openxmlformats.org/officeDocument/2006/relationships/slideLayout" Target="../slideLayouts/slideLayout19.xml"/><Relationship Id="rId51" Type="http://schemas.openxmlformats.org/officeDocument/2006/relationships/slideLayout" Target="../slideLayouts/slideLayout62.xml"/><Relationship Id="rId72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59" Type="http://schemas.openxmlformats.org/officeDocument/2006/relationships/slideLayout" Target="../slideLayouts/slideLayout70.xml"/><Relationship Id="rId67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31.xml"/><Relationship Id="rId41" Type="http://schemas.openxmlformats.org/officeDocument/2006/relationships/slideLayout" Target="../slideLayouts/slideLayout52.xml"/><Relationship Id="rId54" Type="http://schemas.openxmlformats.org/officeDocument/2006/relationships/slideLayout" Target="../slideLayouts/slideLayout65.xml"/><Relationship Id="rId62" Type="http://schemas.openxmlformats.org/officeDocument/2006/relationships/slideLayout" Target="../slideLayouts/slideLayout73.xml"/><Relationship Id="rId70" Type="http://schemas.openxmlformats.org/officeDocument/2006/relationships/slideLayout" Target="../slideLayouts/slideLayout81.xml"/><Relationship Id="rId75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57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1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slideLayout" Target="../slideLayouts/slideLayout63.xml"/><Relationship Id="rId60" Type="http://schemas.openxmlformats.org/officeDocument/2006/relationships/slideLayout" Target="../slideLayouts/slideLayout71.xml"/><Relationship Id="rId65" Type="http://schemas.openxmlformats.org/officeDocument/2006/relationships/slideLayout" Target="../slideLayouts/slideLayout76.xml"/><Relationship Id="rId73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9" Type="http://schemas.openxmlformats.org/officeDocument/2006/relationships/slideLayout" Target="../slideLayouts/slideLayout50.xml"/><Relationship Id="rId34" Type="http://schemas.openxmlformats.org/officeDocument/2006/relationships/slideLayout" Target="../slideLayouts/slideLayout45.xml"/><Relationship Id="rId50" Type="http://schemas.openxmlformats.org/officeDocument/2006/relationships/slideLayout" Target="../slideLayouts/slideLayout61.xml"/><Relationship Id="rId55" Type="http://schemas.openxmlformats.org/officeDocument/2006/relationships/slideLayout" Target="../slideLayouts/slideLayout66.xml"/><Relationship Id="rId76" Type="http://schemas.openxmlformats.org/officeDocument/2006/relationships/image" Target="../media/image3.emf"/><Relationship Id="rId7" Type="http://schemas.openxmlformats.org/officeDocument/2006/relationships/slideLayout" Target="../slideLayouts/slideLayout18.xml"/><Relationship Id="rId71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88825" cy="9144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13" y="76201"/>
            <a:ext cx="11428572" cy="762000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12" y="1219201"/>
            <a:ext cx="11810999" cy="4906964"/>
          </a:xfrm>
          <a:prstGeom prst="rect">
            <a:avLst/>
          </a:prstGeom>
        </p:spPr>
        <p:txBody>
          <a:bodyPr vert="horz" lIns="121899" tIns="60949" rIns="121899" bIns="60949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716ABBC4-D7EF-478E-BA71-DED00E89BE50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518275"/>
            <a:ext cx="3859795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ctr">
              <a:defRPr sz="900">
                <a:solidFill>
                  <a:srgbClr val="FF0000"/>
                </a:solidFill>
                <a:latin typeface="Gill Sans MT" pitchFamily="34" charset="0"/>
              </a:defRPr>
            </a:lvl1pPr>
          </a:lstStyle>
          <a:p>
            <a:r>
              <a:rPr lang="en-US" dirty="0"/>
              <a:t>DRAFT FOR POLICY AND PROGRAM DEVELOP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518275"/>
            <a:ext cx="2844059" cy="365125"/>
          </a:xfrm>
          <a:prstGeom prst="rect">
            <a:avLst/>
          </a:prstGeom>
        </p:spPr>
        <p:txBody>
          <a:bodyPr vert="horz" lIns="121899" tIns="60949" rIns="121899" bIns="60949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Gill Sans MT" pitchFamily="34" charset="0"/>
              </a:defRPr>
            </a:lvl1pPr>
          </a:lstStyle>
          <a:p>
            <a:fld id="{48F239AC-B64B-47D9-9A99-24B0D39D1C1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26" name="Picture 2" descr="Seal of Massachusetts - Wikipedia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52212" y="76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230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9" r:id="rId1"/>
    <p:sldLayoutId id="2147485190" r:id="rId2"/>
    <p:sldLayoutId id="2147485191" r:id="rId3"/>
    <p:sldLayoutId id="2147485192" r:id="rId4"/>
    <p:sldLayoutId id="2147485193" r:id="rId5"/>
    <p:sldLayoutId id="2147485194" r:id="rId6"/>
    <p:sldLayoutId id="2147485195" r:id="rId7"/>
    <p:sldLayoutId id="2147485196" r:id="rId8"/>
    <p:sldLayoutId id="2147485197" r:id="rId9"/>
    <p:sldLayoutId id="2147485198" r:id="rId10"/>
    <p:sldLayoutId id="2147485199" r:id="rId11"/>
  </p:sldLayoutIdLst>
  <p:hf hdr="0"/>
  <p:txStyles>
    <p:titleStyle>
      <a:lvl1pPr algn="l" defTabSz="1218987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Gill Sans MT" pitchFamily="34" charset="0"/>
          <a:ea typeface="+mj-ea"/>
          <a:cs typeface="+mj-cs"/>
        </a:defRPr>
      </a:lvl1pPr>
    </p:titleStyle>
    <p:bodyStyle>
      <a:lvl1pPr marL="457120" indent="-457120" algn="l" defTabSz="1218987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1pPr>
      <a:lvl2pPr marL="990427" indent="-380933" algn="l" defTabSz="1218987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2pPr>
      <a:lvl3pPr marL="152373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3pPr>
      <a:lvl4pPr marL="2133227" indent="-304747" algn="l" defTabSz="1218987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4pPr>
      <a:lvl5pPr marL="2742720" indent="-304747" algn="l" defTabSz="1218987" rtl="0" eaLnBrk="1" latinLnBrk="0" hangingPunct="1">
        <a:spcBef>
          <a:spcPct val="20000"/>
        </a:spcBef>
        <a:buFont typeface="Arial" pitchFamily="34" charset="0"/>
        <a:buChar char="»"/>
        <a:defRPr sz="1200" kern="1200">
          <a:solidFill>
            <a:schemeClr val="tx1"/>
          </a:solidFill>
          <a:latin typeface="Gill Sans MT" pitchFamily="34" charset="0"/>
          <a:ea typeface="+mn-ea"/>
          <a:cs typeface="+mn-cs"/>
        </a:defRPr>
      </a:lvl5pPr>
      <a:lvl6pPr marL="335221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1218987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1218987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2"/>
            </p:custDataLst>
            <p:extLst>
              <p:ext uri="{D42A27DB-BD31-4B8C-83A1-F6EECF244321}">
                <p14:modId xmlns:p14="http://schemas.microsoft.com/office/powerpoint/2010/main" val="3941305400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270" imgH="270" progId="TCLayout.ActiveDocument.1">
                  <p:embed/>
                </p:oleObj>
              </mc:Choice>
              <mc:Fallback>
                <p:oleObj name="think-cell Slide" r:id="rId7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73"/>
            </p:custDataLst>
          </p:nvPr>
        </p:nvSpPr>
        <p:spPr>
          <a:xfrm>
            <a:off x="0" y="0"/>
            <a:ext cx="158709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2400" b="1" i="0" baseline="0" dirty="0">
              <a:solidFill>
                <a:srgbClr val="FFFFFF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29836" y="622801"/>
            <a:ext cx="1093050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9836" y="1825625"/>
            <a:ext cx="1093050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185" r:id="rId2"/>
    <p:sldLayoutId id="2147485186" r:id="rId3"/>
    <p:sldLayoutId id="2147485086" r:id="rId4"/>
    <p:sldLayoutId id="2147485183" r:id="rId5"/>
    <p:sldLayoutId id="2147485158" r:id="rId6"/>
    <p:sldLayoutId id="2147485113" r:id="rId7"/>
    <p:sldLayoutId id="2147485114" r:id="rId8"/>
    <p:sldLayoutId id="2147485154" r:id="rId9"/>
    <p:sldLayoutId id="2147485162" r:id="rId10"/>
    <p:sldLayoutId id="2147485149" r:id="rId11"/>
    <p:sldLayoutId id="2147485087" r:id="rId12"/>
    <p:sldLayoutId id="2147485112" r:id="rId13"/>
    <p:sldLayoutId id="2147485155" r:id="rId14"/>
    <p:sldLayoutId id="2147485164" r:id="rId15"/>
    <p:sldLayoutId id="2147485109" r:id="rId16"/>
    <p:sldLayoutId id="2147485165" r:id="rId17"/>
    <p:sldLayoutId id="2147485110" r:id="rId18"/>
    <p:sldLayoutId id="2147485166" r:id="rId19"/>
    <p:sldLayoutId id="2147485156" r:id="rId20"/>
    <p:sldLayoutId id="2147485167" r:id="rId21"/>
    <p:sldLayoutId id="2147485108" r:id="rId22"/>
    <p:sldLayoutId id="2147485107" r:id="rId23"/>
    <p:sldLayoutId id="2147485106" r:id="rId24"/>
    <p:sldLayoutId id="2147485090" r:id="rId25"/>
    <p:sldLayoutId id="2147485091" r:id="rId26"/>
    <p:sldLayoutId id="2147485092" r:id="rId27"/>
    <p:sldLayoutId id="2147485093" r:id="rId28"/>
    <p:sldLayoutId id="2147485116" r:id="rId29"/>
    <p:sldLayoutId id="2147485161" r:id="rId30"/>
    <p:sldLayoutId id="2147485159" r:id="rId31"/>
    <p:sldLayoutId id="2147485119" r:id="rId32"/>
    <p:sldLayoutId id="2147485184" r:id="rId33"/>
    <p:sldLayoutId id="2147485137" r:id="rId34"/>
    <p:sldLayoutId id="2147485120" r:id="rId35"/>
    <p:sldLayoutId id="2147485121" r:id="rId36"/>
    <p:sldLayoutId id="2147485141" r:id="rId37"/>
    <p:sldLayoutId id="2147485163" r:id="rId38"/>
    <p:sldLayoutId id="2147485139" r:id="rId39"/>
    <p:sldLayoutId id="2147485140" r:id="rId40"/>
    <p:sldLayoutId id="2147485122" r:id="rId41"/>
    <p:sldLayoutId id="2147485123" r:id="rId42"/>
    <p:sldLayoutId id="2147485151" r:id="rId43"/>
    <p:sldLayoutId id="2147485168" r:id="rId44"/>
    <p:sldLayoutId id="2147485127" r:id="rId45"/>
    <p:sldLayoutId id="2147485169" r:id="rId46"/>
    <p:sldLayoutId id="2147485126" r:id="rId47"/>
    <p:sldLayoutId id="2147485170" r:id="rId48"/>
    <p:sldLayoutId id="2147485153" r:id="rId49"/>
    <p:sldLayoutId id="2147485171" r:id="rId50"/>
    <p:sldLayoutId id="2147485128" r:id="rId51"/>
    <p:sldLayoutId id="2147485129" r:id="rId52"/>
    <p:sldLayoutId id="2147485130" r:id="rId53"/>
    <p:sldLayoutId id="2147485131" r:id="rId54"/>
    <p:sldLayoutId id="2147485145" r:id="rId55"/>
    <p:sldLayoutId id="2147485133" r:id="rId56"/>
    <p:sldLayoutId id="2147485144" r:id="rId57"/>
    <p:sldLayoutId id="2147485134" r:id="rId58"/>
    <p:sldLayoutId id="2147485146" r:id="rId59"/>
    <p:sldLayoutId id="2147485160" r:id="rId60"/>
    <p:sldLayoutId id="2147485172" r:id="rId61"/>
    <p:sldLayoutId id="2147485173" r:id="rId62"/>
    <p:sldLayoutId id="2147485174" r:id="rId63"/>
    <p:sldLayoutId id="2147485175" r:id="rId64"/>
    <p:sldLayoutId id="2147485176" r:id="rId65"/>
    <p:sldLayoutId id="2147485177" r:id="rId66"/>
    <p:sldLayoutId id="2147485178" r:id="rId67"/>
    <p:sldLayoutId id="2147485179" r:id="rId68"/>
    <p:sldLayoutId id="2147485180" r:id="rId69"/>
    <p:sldLayoutId id="2147485187" r:id="rId70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/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14126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284315" indent="-172748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511047" indent="-165550" algn="l" defTabSz="914126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0" indent="0" algn="l" defTabSz="914126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+mn-lt"/>
        </a:defRPr>
      </a:lvl4pPr>
      <a:lvl5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5pPr>
      <a:lvl6pPr marL="269794" indent="-152354" algn="l" defTabSz="914126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6pPr>
      <a:lvl7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7pPr>
      <a:lvl8pPr marL="0" indent="0" algn="l" defTabSz="914126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+mn-lt"/>
        </a:defRPr>
      </a:lvl8pPr>
      <a:lvl9pPr marL="0" indent="0" algn="l" defTabSz="914126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6CBC5AFE-8080-439C-88F4-247DEEEAE2B4}"/>
              </a:ext>
            </a:extLst>
          </p:cNvPr>
          <p:cNvSpPr txBox="1">
            <a:spLocks/>
          </p:cNvSpPr>
          <p:nvPr/>
        </p:nvSpPr>
        <p:spPr>
          <a:xfrm>
            <a:off x="473162" y="2332235"/>
            <a:ext cx="11242500" cy="4040664"/>
          </a:xfrm>
          <a:prstGeom prst="rect">
            <a:avLst/>
          </a:prstGeom>
        </p:spPr>
        <p:txBody>
          <a:bodyPr vert="horz" lIns="121899" tIns="60949" rIns="121899" bIns="60949" rtlCol="0" anchor="ctr">
            <a:normAutofit/>
          </a:bodyPr>
          <a:lstStyle>
            <a:lvl1pPr algn="l" defTabSz="1218987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Gill Sans M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3600" b="1" dirty="0">
                <a:solidFill>
                  <a:schemeClr val="tx1"/>
                </a:solidFill>
                <a:latin typeface="Gill Sans MT"/>
              </a:rPr>
              <a:t>Justice Reinvestment Policy Oversight Board</a:t>
            </a:r>
          </a:p>
          <a:p>
            <a:pPr algn="ctr"/>
            <a:endParaRPr lang="en-US" sz="18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600" i="1" dirty="0">
                <a:solidFill>
                  <a:schemeClr val="tx1"/>
                </a:solidFill>
                <a:latin typeface="Gill Sans MT"/>
              </a:rPr>
              <a:t>Cross-Tracking Initiative Update</a:t>
            </a:r>
          </a:p>
          <a:p>
            <a:pPr algn="ctr"/>
            <a:endParaRPr lang="en-US" sz="5200" dirty="0">
              <a:solidFill>
                <a:schemeClr val="tx1"/>
              </a:solidFill>
              <a:latin typeface="Gill Sans MT"/>
            </a:endParaRPr>
          </a:p>
          <a:p>
            <a:pPr algn="ctr"/>
            <a:r>
              <a:rPr lang="en-US" sz="3200" dirty="0">
                <a:solidFill>
                  <a:schemeClr val="tx1"/>
                </a:solidFill>
                <a:latin typeface="Gill Sans MT"/>
              </a:rPr>
              <a:t>02/07/22</a:t>
            </a:r>
            <a:endParaRPr lang="en-US" sz="5200" dirty="0">
              <a:solidFill>
                <a:schemeClr val="tx1"/>
              </a:solidFill>
            </a:endParaRPr>
          </a:p>
          <a:p>
            <a:pPr algn="ctr"/>
            <a:endParaRPr lang="en-US" sz="2600" dirty="0">
              <a:solidFill>
                <a:srgbClr val="FF0000"/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D96B0D-377C-438A-B9A9-26A8913C9BF6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120A43-DD36-4BC4-8864-7EEDB52E55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1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7E51-10C8-42EF-A2FD-F69FB450DC79}"/>
              </a:ext>
            </a:extLst>
          </p:cNvPr>
          <p:cNvSpPr/>
          <p:nvPr/>
        </p:nvSpPr>
        <p:spPr>
          <a:xfrm>
            <a:off x="5794624" y="102743"/>
            <a:ext cx="5650787" cy="7522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Public Safety and Security</a:t>
            </a:r>
          </a:p>
          <a:p>
            <a:r>
              <a:rPr lang="en-US" sz="2000" dirty="0">
                <a:solidFill>
                  <a:schemeClr val="bg1"/>
                </a:solidFill>
                <a:latin typeface="Gill Sans MT" panose="020B0502020104020203" pitchFamily="34" charset="0"/>
              </a:rPr>
              <a:t>Executive Office of Technology Services and Security</a:t>
            </a:r>
          </a:p>
        </p:txBody>
      </p:sp>
    </p:spTree>
    <p:extLst>
      <p:ext uri="{BB962C8B-B14F-4D97-AF65-F5344CB8AC3E}">
        <p14:creationId xmlns:p14="http://schemas.microsoft.com/office/powerpoint/2010/main" val="19227155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ctangle 43">
            <a:extLst>
              <a:ext uri="{FF2B5EF4-FFF2-40B4-BE49-F238E27FC236}">
                <a16:creationId xmlns:a16="http://schemas.microsoft.com/office/drawing/2014/main" id="{57BB7E40-A467-4930-9CA3-FC702DA0647C}"/>
              </a:ext>
            </a:extLst>
          </p:cNvPr>
          <p:cNvSpPr/>
          <p:nvPr/>
        </p:nvSpPr>
        <p:spPr>
          <a:xfrm>
            <a:off x="-17785" y="-6668"/>
            <a:ext cx="12206610" cy="6864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CED1C0-4608-413E-B871-3D0453A55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A40F7D-1B48-4BBA-8252-05465CC96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0356613-D6D1-484F-9BD3-75A29AB9EE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2</a:t>
            </a:fld>
            <a:endParaRPr lang="en-US" dirty="0"/>
          </a:p>
        </p:txBody>
      </p:sp>
      <p:sp>
        <p:nvSpPr>
          <p:cNvPr id="15" name="Google Shape;380;p6">
            <a:extLst>
              <a:ext uri="{FF2B5EF4-FFF2-40B4-BE49-F238E27FC236}">
                <a16:creationId xmlns:a16="http://schemas.microsoft.com/office/drawing/2014/main" id="{8A0A29CA-F5E7-442A-869C-85BCF44063C1}"/>
              </a:ext>
            </a:extLst>
          </p:cNvPr>
          <p:cNvSpPr/>
          <p:nvPr/>
        </p:nvSpPr>
        <p:spPr>
          <a:xfrm rot="10800000">
            <a:off x="945269" y="3491095"/>
            <a:ext cx="10326255" cy="210029"/>
          </a:xfrm>
          <a:prstGeom prst="triangle">
            <a:avLst>
              <a:gd name="adj" fmla="val 50000"/>
            </a:avLst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Gill Sans MT" panose="020B0502020104020203" pitchFamily="34" charset="0"/>
              <a:ea typeface="Arial"/>
              <a:cs typeface="Arial"/>
              <a:sym typeface="Arial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7985CCD-9413-479A-86E4-9F7BE0AE15A1}"/>
              </a:ext>
            </a:extLst>
          </p:cNvPr>
          <p:cNvGrpSpPr/>
          <p:nvPr/>
        </p:nvGrpSpPr>
        <p:grpSpPr>
          <a:xfrm>
            <a:off x="0" y="56045"/>
            <a:ext cx="12192000" cy="1073989"/>
            <a:chOff x="0" y="84038"/>
            <a:chExt cx="12192000" cy="1073989"/>
          </a:xfrm>
        </p:grpSpPr>
        <p:cxnSp>
          <p:nvCxnSpPr>
            <p:cNvPr id="16" name="Google Shape;378;p6">
              <a:extLst>
                <a:ext uri="{FF2B5EF4-FFF2-40B4-BE49-F238E27FC236}">
                  <a16:creationId xmlns:a16="http://schemas.microsoft.com/office/drawing/2014/main" id="{F110F8A3-4501-472D-AD68-BACB91CD37B3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349475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7" name="Google Shape;379;p6">
              <a:extLst>
                <a:ext uri="{FF2B5EF4-FFF2-40B4-BE49-F238E27FC236}">
                  <a16:creationId xmlns:a16="http://schemas.microsoft.com/office/drawing/2014/main" id="{0F14D400-C6A1-447E-83DC-8B655A69CFF5}"/>
                </a:ext>
              </a:extLst>
            </p:cNvPr>
            <p:cNvSpPr txBox="1"/>
            <p:nvPr/>
          </p:nvSpPr>
          <p:spPr>
            <a:xfrm>
              <a:off x="4494212" y="84038"/>
              <a:ext cx="32004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002856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wealth Direction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will accomplish)</a:t>
              </a:r>
              <a:endParaRPr lang="en-US" sz="2800" dirty="0">
                <a:solidFill>
                  <a:srgbClr val="002856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8" name="Google Shape;385;p6">
              <a:extLst>
                <a:ext uri="{FF2B5EF4-FFF2-40B4-BE49-F238E27FC236}">
                  <a16:creationId xmlns:a16="http://schemas.microsoft.com/office/drawing/2014/main" id="{0E50B980-92FC-4742-BF17-479C6B07E04A}"/>
                </a:ext>
              </a:extLst>
            </p:cNvPr>
            <p:cNvSpPr/>
            <p:nvPr/>
          </p:nvSpPr>
          <p:spPr>
            <a:xfrm>
              <a:off x="847498" y="511737"/>
              <a:ext cx="10493829" cy="64629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45700" rIns="0" bIns="45700" anchor="t" anchorCtr="0">
              <a:spAutoFit/>
            </a:bodyPr>
            <a:lstStyle/>
            <a:p>
              <a:pPr lvl="0" algn="ctr"/>
              <a:r>
                <a:rPr lang="en-US" sz="1800" b="1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We will improve the criminal justice system by enhancing the integrity, accuracy, consistency, and transparency of information.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0C33072-E1E6-4E80-87AA-49FB21D08879}"/>
              </a:ext>
            </a:extLst>
          </p:cNvPr>
          <p:cNvGrpSpPr/>
          <p:nvPr/>
        </p:nvGrpSpPr>
        <p:grpSpPr>
          <a:xfrm>
            <a:off x="0" y="3789345"/>
            <a:ext cx="12192000" cy="1383365"/>
            <a:chOff x="0" y="3789345"/>
            <a:chExt cx="12192000" cy="1383365"/>
          </a:xfrm>
        </p:grpSpPr>
        <p:cxnSp>
          <p:nvCxnSpPr>
            <p:cNvPr id="9" name="Google Shape;381;p6">
              <a:extLst>
                <a:ext uri="{FF2B5EF4-FFF2-40B4-BE49-F238E27FC236}">
                  <a16:creationId xmlns:a16="http://schemas.microsoft.com/office/drawing/2014/main" id="{44852DD8-9436-485E-BF5B-99142951979F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4054782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0" name="Google Shape;382;p6">
              <a:extLst>
                <a:ext uri="{FF2B5EF4-FFF2-40B4-BE49-F238E27FC236}">
                  <a16:creationId xmlns:a16="http://schemas.microsoft.com/office/drawing/2014/main" id="{0A17F261-5737-4261-8E06-8EDAE1E350C0}"/>
                </a:ext>
              </a:extLst>
            </p:cNvPr>
            <p:cNvSpPr txBox="1"/>
            <p:nvPr/>
          </p:nvSpPr>
          <p:spPr>
            <a:xfrm>
              <a:off x="4631372" y="3789345"/>
              <a:ext cx="292608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A80A3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Strategic Focus Areas</a:t>
              </a:r>
              <a:endParaRPr lang="en-US" sz="2800" dirty="0">
                <a:solidFill>
                  <a:srgbClr val="6A80A3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6A80A3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How we will get there)</a:t>
              </a:r>
              <a:endParaRPr lang="en-US" sz="1800" b="1" dirty="0">
                <a:solidFill>
                  <a:srgbClr val="6A80A3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11" name="Google Shape;390;p6">
              <a:extLst>
                <a:ext uri="{FF2B5EF4-FFF2-40B4-BE49-F238E27FC236}">
                  <a16:creationId xmlns:a16="http://schemas.microsoft.com/office/drawing/2014/main" id="{7DC316BA-D0B0-4CB1-80A4-5AF4F09C86AC}"/>
                </a:ext>
              </a:extLst>
            </p:cNvPr>
            <p:cNvSpPr/>
            <p:nvPr/>
          </p:nvSpPr>
          <p:spPr>
            <a:xfrm>
              <a:off x="321110" y="4400475"/>
              <a:ext cx="2651962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ommon Data Definitions</a:t>
              </a:r>
            </a:p>
          </p:txBody>
        </p:sp>
        <p:sp>
          <p:nvSpPr>
            <p:cNvPr id="12" name="Google Shape;391;p6">
              <a:extLst>
                <a:ext uri="{FF2B5EF4-FFF2-40B4-BE49-F238E27FC236}">
                  <a16:creationId xmlns:a16="http://schemas.microsoft.com/office/drawing/2014/main" id="{E7B94D45-67A5-4D5F-8CFF-3F2D83B32970}"/>
                </a:ext>
              </a:extLst>
            </p:cNvPr>
            <p:cNvSpPr/>
            <p:nvPr/>
          </p:nvSpPr>
          <p:spPr>
            <a:xfrm>
              <a:off x="3269515" y="4400475"/>
              <a:ext cx="2656076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 Framework</a:t>
              </a:r>
            </a:p>
          </p:txBody>
        </p:sp>
        <p:sp>
          <p:nvSpPr>
            <p:cNvPr id="13" name="Google Shape;392;p6">
              <a:extLst>
                <a:ext uri="{FF2B5EF4-FFF2-40B4-BE49-F238E27FC236}">
                  <a16:creationId xmlns:a16="http://schemas.microsoft.com/office/drawing/2014/main" id="{A66892C0-6130-4079-A522-21E805347E16}"/>
                </a:ext>
              </a:extLst>
            </p:cNvPr>
            <p:cNvSpPr/>
            <p:nvPr/>
          </p:nvSpPr>
          <p:spPr>
            <a:xfrm>
              <a:off x="6222034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Cross-Agency Data Sharing</a:t>
              </a:r>
            </a:p>
          </p:txBody>
        </p:sp>
        <p:sp>
          <p:nvSpPr>
            <p:cNvPr id="14" name="Google Shape;403;p6">
              <a:extLst>
                <a:ext uri="{FF2B5EF4-FFF2-40B4-BE49-F238E27FC236}">
                  <a16:creationId xmlns:a16="http://schemas.microsoft.com/office/drawing/2014/main" id="{E17CE04B-5203-43DF-942E-FD3378936612}"/>
                </a:ext>
              </a:extLst>
            </p:cNvPr>
            <p:cNvSpPr/>
            <p:nvPr/>
          </p:nvSpPr>
          <p:spPr>
            <a:xfrm>
              <a:off x="321110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A common data language to support consistent data defini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19" name="Google Shape;392;p6">
              <a:extLst>
                <a:ext uri="{FF2B5EF4-FFF2-40B4-BE49-F238E27FC236}">
                  <a16:creationId xmlns:a16="http://schemas.microsoft.com/office/drawing/2014/main" id="{60896281-FAA4-4D3A-B43C-B48E2C6FF796}"/>
                </a:ext>
              </a:extLst>
            </p:cNvPr>
            <p:cNvSpPr/>
            <p:nvPr/>
          </p:nvSpPr>
          <p:spPr>
            <a:xfrm>
              <a:off x="9170440" y="4400475"/>
              <a:ext cx="2651963" cy="313553"/>
            </a:xfrm>
            <a:prstGeom prst="rect">
              <a:avLst/>
            </a:prstGeom>
            <a:solidFill>
              <a:srgbClr val="6A80A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xecution Oversight</a:t>
              </a:r>
            </a:p>
          </p:txBody>
        </p:sp>
        <p:sp>
          <p:nvSpPr>
            <p:cNvPr id="20" name="Google Shape;403;p6">
              <a:extLst>
                <a:ext uri="{FF2B5EF4-FFF2-40B4-BE49-F238E27FC236}">
                  <a16:creationId xmlns:a16="http://schemas.microsoft.com/office/drawing/2014/main" id="{2FEF7FB1-41D9-4514-926D-92B5C27F0FA4}"/>
                </a:ext>
              </a:extLst>
            </p:cNvPr>
            <p:cNvSpPr/>
            <p:nvPr/>
          </p:nvSpPr>
          <p:spPr>
            <a:xfrm>
              <a:off x="3264417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efined interagency roles, responsibilities, accountabilities, and processes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1" name="Google Shape;403;p6">
              <a:extLst>
                <a:ext uri="{FF2B5EF4-FFF2-40B4-BE49-F238E27FC236}">
                  <a16:creationId xmlns:a16="http://schemas.microsoft.com/office/drawing/2014/main" id="{F3357282-60AB-48EB-986E-56D9B6DFD782}"/>
                </a:ext>
              </a:extLst>
            </p:cNvPr>
            <p:cNvSpPr/>
            <p:nvPr/>
          </p:nvSpPr>
          <p:spPr>
            <a:xfrm>
              <a:off x="6207724" y="4747978"/>
              <a:ext cx="2651962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lvl="0" algn="ctr"/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Requirements for the integration and development of supporting technology</a:t>
              </a:r>
              <a:endParaRPr lang="en-US" sz="1200" dirty="0">
                <a:latin typeface="Gill Sans MT" panose="020B0502020104020203" pitchFamily="34" charset="0"/>
              </a:endParaRPr>
            </a:p>
          </p:txBody>
        </p:sp>
        <p:sp>
          <p:nvSpPr>
            <p:cNvPr id="22" name="Google Shape;403;p6">
              <a:extLst>
                <a:ext uri="{FF2B5EF4-FFF2-40B4-BE49-F238E27FC236}">
                  <a16:creationId xmlns:a16="http://schemas.microsoft.com/office/drawing/2014/main" id="{C07B5C38-319C-409E-9FB3-921850607F2A}"/>
                </a:ext>
              </a:extLst>
            </p:cNvPr>
            <p:cNvSpPr/>
            <p:nvPr/>
          </p:nvSpPr>
          <p:spPr>
            <a:xfrm>
              <a:off x="9151031" y="4747978"/>
              <a:ext cx="2716684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Processes and procedures to operationalize and oversee target state implementation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040AD3C-72C0-4E4C-99B8-0BC658CD553A}"/>
              </a:ext>
            </a:extLst>
          </p:cNvPr>
          <p:cNvGrpSpPr/>
          <p:nvPr/>
        </p:nvGrpSpPr>
        <p:grpSpPr>
          <a:xfrm>
            <a:off x="-1588" y="1097889"/>
            <a:ext cx="12192000" cy="2309983"/>
            <a:chOff x="0" y="1097889"/>
            <a:chExt cx="12192000" cy="2309983"/>
          </a:xfrm>
        </p:grpSpPr>
        <p:cxnSp>
          <p:nvCxnSpPr>
            <p:cNvPr id="7" name="Google Shape;383;p6">
              <a:extLst>
                <a:ext uri="{FF2B5EF4-FFF2-40B4-BE49-F238E27FC236}">
                  <a16:creationId xmlns:a16="http://schemas.microsoft.com/office/drawing/2014/main" id="{9DBD36B3-5888-40D5-A588-6E5F457EE776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363326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8" name="Google Shape;384;p6">
              <a:extLst>
                <a:ext uri="{FF2B5EF4-FFF2-40B4-BE49-F238E27FC236}">
                  <a16:creationId xmlns:a16="http://schemas.microsoft.com/office/drawing/2014/main" id="{395C6703-3054-47F6-845F-F9B5D9081A25}"/>
                </a:ext>
              </a:extLst>
            </p:cNvPr>
            <p:cNvSpPr txBox="1"/>
            <p:nvPr/>
          </p:nvSpPr>
          <p:spPr>
            <a:xfrm>
              <a:off x="4722812" y="1097889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3555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Outcomes</a:t>
              </a:r>
              <a:endParaRPr lang="en-US" sz="2800" dirty="0">
                <a:solidFill>
                  <a:srgbClr val="355578"/>
                </a:solidFill>
                <a:latin typeface="Gill Sans MT" panose="020B0502020104020203" pitchFamily="34" charset="0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50" b="1" i="1" dirty="0">
                  <a:solidFill>
                    <a:srgbClr val="3555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ere we are going)</a:t>
              </a:r>
              <a:endParaRPr lang="en-US" sz="1800" b="1" i="1" dirty="0">
                <a:solidFill>
                  <a:srgbClr val="3555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31" name="Google Shape;395;p6">
              <a:extLst>
                <a:ext uri="{FF2B5EF4-FFF2-40B4-BE49-F238E27FC236}">
                  <a16:creationId xmlns:a16="http://schemas.microsoft.com/office/drawing/2014/main" id="{A1AD8ACF-2AE8-4182-A9F3-51BEE2BBFF17}"/>
                </a:ext>
              </a:extLst>
            </p:cNvPr>
            <p:cNvSpPr/>
            <p:nvPr/>
          </p:nvSpPr>
          <p:spPr>
            <a:xfrm>
              <a:off x="302010" y="2613808"/>
              <a:ext cx="1789630" cy="79406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provide insights into agency performance to understand how to improve operation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2" name="Google Shape;389;p6">
              <a:extLst>
                <a:ext uri="{FF2B5EF4-FFF2-40B4-BE49-F238E27FC236}">
                  <a16:creationId xmlns:a16="http://schemas.microsoft.com/office/drawing/2014/main" id="{56246F7F-1976-42F2-A24F-A933371549BA}"/>
                </a:ext>
              </a:extLst>
            </p:cNvPr>
            <p:cNvSpPr/>
            <p:nvPr/>
          </p:nvSpPr>
          <p:spPr>
            <a:xfrm>
              <a:off x="8071114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Analyze Disparities and Evaluate Effectiveness of Reform Programs</a:t>
              </a:r>
            </a:p>
          </p:txBody>
        </p:sp>
        <p:sp>
          <p:nvSpPr>
            <p:cNvPr id="33" name="Google Shape;389;p6">
              <a:extLst>
                <a:ext uri="{FF2B5EF4-FFF2-40B4-BE49-F238E27FC236}">
                  <a16:creationId xmlns:a16="http://schemas.microsoft.com/office/drawing/2014/main" id="{24D85FF9-BAAF-45C0-A6CC-E1AA1E4D7315}"/>
                </a:ext>
              </a:extLst>
            </p:cNvPr>
            <p:cNvSpPr/>
            <p:nvPr/>
          </p:nvSpPr>
          <p:spPr>
            <a:xfrm>
              <a:off x="10013389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Studies of Recidivism and Other Criminal Justice Research</a:t>
              </a:r>
            </a:p>
          </p:txBody>
        </p:sp>
        <p:sp>
          <p:nvSpPr>
            <p:cNvPr id="34" name="Google Shape;389;p6">
              <a:extLst>
                <a:ext uri="{FF2B5EF4-FFF2-40B4-BE49-F238E27FC236}">
                  <a16:creationId xmlns:a16="http://schemas.microsoft.com/office/drawing/2014/main" id="{ECD59FFD-7DC1-4BA1-B2F3-B61CA6FE2652}"/>
                </a:ext>
              </a:extLst>
            </p:cNvPr>
            <p:cNvSpPr/>
            <p:nvPr/>
          </p:nvSpPr>
          <p:spPr>
            <a:xfrm>
              <a:off x="302010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rive Operational Efficiency and Effectiveness</a:t>
              </a:r>
            </a:p>
          </p:txBody>
        </p:sp>
        <p:sp>
          <p:nvSpPr>
            <p:cNvPr id="35" name="Google Shape;389;p6">
              <a:extLst>
                <a:ext uri="{FF2B5EF4-FFF2-40B4-BE49-F238E27FC236}">
                  <a16:creationId xmlns:a16="http://schemas.microsoft.com/office/drawing/2014/main" id="{BF38C885-021C-46E2-A02A-D92BD3DF3395}"/>
                </a:ext>
              </a:extLst>
            </p:cNvPr>
            <p:cNvSpPr/>
            <p:nvPr/>
          </p:nvSpPr>
          <p:spPr>
            <a:xfrm>
              <a:off x="4186562" y="1699493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Increase Criminal Justice Data Availability, Quality, and Trust</a:t>
              </a:r>
            </a:p>
          </p:txBody>
        </p:sp>
        <p:sp>
          <p:nvSpPr>
            <p:cNvPr id="36" name="Google Shape;395;p6">
              <a:extLst>
                <a:ext uri="{FF2B5EF4-FFF2-40B4-BE49-F238E27FC236}">
                  <a16:creationId xmlns:a16="http://schemas.microsoft.com/office/drawing/2014/main" id="{F75BE55B-48BC-49B2-8EE0-F20CC9E565CE}"/>
                </a:ext>
              </a:extLst>
            </p:cNvPr>
            <p:cNvSpPr/>
            <p:nvPr/>
          </p:nvSpPr>
          <p:spPr>
            <a:xfrm>
              <a:off x="4186562" y="262148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Criminal justice data can be consistently and securely shared and reused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7" name="Google Shape;395;p6">
              <a:extLst>
                <a:ext uri="{FF2B5EF4-FFF2-40B4-BE49-F238E27FC236}">
                  <a16:creationId xmlns:a16="http://schemas.microsoft.com/office/drawing/2014/main" id="{9156FD27-4B33-477B-A576-D01A567766D5}"/>
                </a:ext>
              </a:extLst>
            </p:cNvPr>
            <p:cNvSpPr/>
            <p:nvPr/>
          </p:nvSpPr>
          <p:spPr>
            <a:xfrm>
              <a:off x="8071113" y="2629168"/>
              <a:ext cx="1789631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understanding racial disparities and the success of reform programs 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8" name="Google Shape;395;p6">
              <a:extLst>
                <a:ext uri="{FF2B5EF4-FFF2-40B4-BE49-F238E27FC236}">
                  <a16:creationId xmlns:a16="http://schemas.microsoft.com/office/drawing/2014/main" id="{6831986D-9008-4C30-926E-0EB304305E57}"/>
                </a:ext>
              </a:extLst>
            </p:cNvPr>
            <p:cNvSpPr/>
            <p:nvPr/>
          </p:nvSpPr>
          <p:spPr>
            <a:xfrm>
              <a:off x="10013390" y="2633008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criminal justice reform studies more intuitively and through easier access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39" name="Google Shape;389;p6">
              <a:extLst>
                <a:ext uri="{FF2B5EF4-FFF2-40B4-BE49-F238E27FC236}">
                  <a16:creationId xmlns:a16="http://schemas.microsoft.com/office/drawing/2014/main" id="{2F0D6885-2EBB-417D-8784-98820DA4AB93}"/>
                </a:ext>
              </a:extLst>
            </p:cNvPr>
            <p:cNvSpPr/>
            <p:nvPr/>
          </p:nvSpPr>
          <p:spPr>
            <a:xfrm>
              <a:off x="2244285" y="1705419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nable Linkages of Individual Records Across the Criminal Justice System </a:t>
              </a:r>
            </a:p>
          </p:txBody>
        </p:sp>
        <p:sp>
          <p:nvSpPr>
            <p:cNvPr id="40" name="Google Shape;395;p6">
              <a:extLst>
                <a:ext uri="{FF2B5EF4-FFF2-40B4-BE49-F238E27FC236}">
                  <a16:creationId xmlns:a16="http://schemas.microsoft.com/office/drawing/2014/main" id="{7A407BE8-6E33-455D-A3EF-62105F2B939A}"/>
                </a:ext>
              </a:extLst>
            </p:cNvPr>
            <p:cNvSpPr/>
            <p:nvPr/>
          </p:nvSpPr>
          <p:spPr>
            <a:xfrm>
              <a:off x="2244285" y="2631254"/>
              <a:ext cx="1789630" cy="609398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Individuals are tracked consistently throughout the entire criminal justice System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  <p:sp>
          <p:nvSpPr>
            <p:cNvPr id="41" name="Google Shape;389;p6">
              <a:extLst>
                <a:ext uri="{FF2B5EF4-FFF2-40B4-BE49-F238E27FC236}">
                  <a16:creationId xmlns:a16="http://schemas.microsoft.com/office/drawing/2014/main" id="{4E1B811B-5A20-4C94-BB77-81AC73C98B07}"/>
                </a:ext>
              </a:extLst>
            </p:cNvPr>
            <p:cNvSpPr/>
            <p:nvPr/>
          </p:nvSpPr>
          <p:spPr>
            <a:xfrm>
              <a:off x="6128836" y="1702910"/>
              <a:ext cx="1789630" cy="923749"/>
            </a:xfrm>
            <a:prstGeom prst="rect">
              <a:avLst/>
            </a:prstGeom>
            <a:solidFill>
              <a:srgbClr val="355578"/>
            </a:solidFill>
            <a:ln>
              <a:noFill/>
            </a:ln>
          </p:spPr>
          <p:txBody>
            <a:bodyPr spcFirstLastPara="1" wrap="square" lIns="91425" tIns="45700" rIns="45700" bIns="45700" anchor="ctr" anchorCtr="0">
              <a:noAutofit/>
            </a:bodyPr>
            <a:lstStyle/>
            <a:p>
              <a:pPr lvl="0" algn="ctr"/>
              <a:r>
                <a:rPr lang="en-US" sz="1200" b="1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Empower Data-Driven Decision Making and Monitoring </a:t>
              </a:r>
            </a:p>
          </p:txBody>
        </p:sp>
        <p:sp>
          <p:nvSpPr>
            <p:cNvPr id="42" name="Google Shape;395;p6">
              <a:extLst>
                <a:ext uri="{FF2B5EF4-FFF2-40B4-BE49-F238E27FC236}">
                  <a16:creationId xmlns:a16="http://schemas.microsoft.com/office/drawing/2014/main" id="{87294F4E-0C79-49C7-956B-B8B219683964}"/>
                </a:ext>
              </a:extLst>
            </p:cNvPr>
            <p:cNvSpPr/>
            <p:nvPr/>
          </p:nvSpPr>
          <p:spPr>
            <a:xfrm>
              <a:off x="6128836" y="2621065"/>
              <a:ext cx="1789630" cy="4247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27432" tIns="27432" rIns="27432" bIns="27432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200" i="1" dirty="0">
                  <a:solidFill>
                    <a:srgbClr val="002856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Data support key decisions for policies and budgeting</a:t>
              </a:r>
              <a:endParaRPr lang="en-US" sz="3200" dirty="0">
                <a:latin typeface="Gill Sans MT" panose="020B0502020104020203" pitchFamily="34" charset="0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3579A5A-0F67-484B-9D4F-83D4FA3F4B6F}"/>
              </a:ext>
            </a:extLst>
          </p:cNvPr>
          <p:cNvGrpSpPr/>
          <p:nvPr/>
        </p:nvGrpSpPr>
        <p:grpSpPr>
          <a:xfrm>
            <a:off x="565" y="5299717"/>
            <a:ext cx="12192000" cy="943322"/>
            <a:chOff x="565" y="5159757"/>
            <a:chExt cx="12192000" cy="943322"/>
          </a:xfrm>
        </p:grpSpPr>
        <p:cxnSp>
          <p:nvCxnSpPr>
            <p:cNvPr id="28" name="Google Shape;381;p6">
              <a:extLst>
                <a:ext uri="{FF2B5EF4-FFF2-40B4-BE49-F238E27FC236}">
                  <a16:creationId xmlns:a16="http://schemas.microsoft.com/office/drawing/2014/main" id="{6A73947F-0A6E-43EA-8A13-83520B6E7DEB}"/>
                </a:ext>
              </a:extLst>
            </p:cNvPr>
            <p:cNvCxnSpPr>
              <a:cxnSpLocks/>
            </p:cNvCxnSpPr>
            <p:nvPr/>
          </p:nvCxnSpPr>
          <p:spPr>
            <a:xfrm>
              <a:off x="565" y="5425194"/>
              <a:ext cx="12192000" cy="0"/>
            </a:xfrm>
            <a:prstGeom prst="straightConnector1">
              <a:avLst/>
            </a:prstGeom>
            <a:noFill/>
            <a:ln w="19050" cap="flat" cmpd="sng">
              <a:solidFill>
                <a:srgbClr val="D3D3D3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9" name="Google Shape;382;p6">
              <a:extLst>
                <a:ext uri="{FF2B5EF4-FFF2-40B4-BE49-F238E27FC236}">
                  <a16:creationId xmlns:a16="http://schemas.microsoft.com/office/drawing/2014/main" id="{C760DD9B-2162-4AE1-A877-2D26CE72C0B8}"/>
                </a:ext>
              </a:extLst>
            </p:cNvPr>
            <p:cNvSpPr txBox="1"/>
            <p:nvPr/>
          </p:nvSpPr>
          <p:spPr>
            <a:xfrm>
              <a:off x="4722812" y="5159757"/>
              <a:ext cx="2743200" cy="530874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0" tIns="45700" rIns="91425" bIns="45700" anchor="t" anchorCtr="0">
              <a:sp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 b="1" dirty="0">
                  <a:solidFill>
                    <a:srgbClr val="6F7878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Key Capabilities</a:t>
              </a:r>
              <a:endParaRPr lang="en-US" sz="2800" dirty="0">
                <a:solidFill>
                  <a:srgbClr val="6F7878"/>
                </a:solidFill>
                <a:latin typeface="Gill Sans MT" panose="020B0502020104020203" pitchFamily="34" charset="0"/>
              </a:endParaRPr>
            </a:p>
            <a:p>
              <a:pPr lvl="0" algn="ctr"/>
              <a:r>
                <a:rPr lang="en-US" sz="1050" b="1" i="1" dirty="0">
                  <a:solidFill>
                    <a:srgbClr val="6F7878"/>
                  </a:solidFill>
                  <a:latin typeface="Gill Sans MT" panose="020B0502020104020203" pitchFamily="34" charset="0"/>
                  <a:ea typeface="Arial"/>
                  <a:cs typeface="Arial"/>
                  <a:sym typeface="Arial"/>
                </a:rPr>
                <a:t>(What We Need to Put in Place)</a:t>
              </a:r>
              <a:endParaRPr lang="en-US" sz="1800" b="1" dirty="0">
                <a:solidFill>
                  <a:srgbClr val="6F7878"/>
                </a:solidFill>
                <a:latin typeface="Gill Sans MT" panose="020B0502020104020203" pitchFamily="34" charset="0"/>
                <a:ea typeface="Arial"/>
                <a:cs typeface="Arial"/>
                <a:sym typeface="Arial"/>
              </a:endParaRPr>
            </a:p>
          </p:txBody>
        </p:sp>
        <p:sp>
          <p:nvSpPr>
            <p:cNvPr id="23" name="Google Shape;390;p6">
              <a:extLst>
                <a:ext uri="{FF2B5EF4-FFF2-40B4-BE49-F238E27FC236}">
                  <a16:creationId xmlns:a16="http://schemas.microsoft.com/office/drawing/2014/main" id="{BDBC7261-1AC3-4D14-A38A-8C245DB6598A}"/>
                </a:ext>
              </a:extLst>
            </p:cNvPr>
            <p:cNvSpPr/>
            <p:nvPr/>
          </p:nvSpPr>
          <p:spPr>
            <a:xfrm>
              <a:off x="2741482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Data</a:t>
              </a:r>
            </a:p>
          </p:txBody>
        </p:sp>
        <p:sp>
          <p:nvSpPr>
            <p:cNvPr id="24" name="Google Shape;390;p6">
              <a:extLst>
                <a:ext uri="{FF2B5EF4-FFF2-40B4-BE49-F238E27FC236}">
                  <a16:creationId xmlns:a16="http://schemas.microsoft.com/office/drawing/2014/main" id="{80AF158F-89F6-43E1-87F5-C8A3A316C397}"/>
                </a:ext>
              </a:extLst>
            </p:cNvPr>
            <p:cNvSpPr/>
            <p:nvPr/>
          </p:nvSpPr>
          <p:spPr>
            <a:xfrm>
              <a:off x="4503698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Governance</a:t>
              </a:r>
            </a:p>
          </p:txBody>
        </p:sp>
        <p:sp>
          <p:nvSpPr>
            <p:cNvPr id="25" name="Google Shape;390;p6">
              <a:extLst>
                <a:ext uri="{FF2B5EF4-FFF2-40B4-BE49-F238E27FC236}">
                  <a16:creationId xmlns:a16="http://schemas.microsoft.com/office/drawing/2014/main" id="{FAFE3212-D928-4A64-B2FC-54FD9FD61F3F}"/>
                </a:ext>
              </a:extLst>
            </p:cNvPr>
            <p:cNvSpPr/>
            <p:nvPr/>
          </p:nvSpPr>
          <p:spPr>
            <a:xfrm>
              <a:off x="626591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rocess</a:t>
              </a:r>
            </a:p>
          </p:txBody>
        </p:sp>
        <p:sp>
          <p:nvSpPr>
            <p:cNvPr id="26" name="Google Shape;390;p6">
              <a:extLst>
                <a:ext uri="{FF2B5EF4-FFF2-40B4-BE49-F238E27FC236}">
                  <a16:creationId xmlns:a16="http://schemas.microsoft.com/office/drawing/2014/main" id="{4AF40B7C-2569-476B-AC51-BD76AB0ECB42}"/>
                </a:ext>
              </a:extLst>
            </p:cNvPr>
            <p:cNvSpPr/>
            <p:nvPr/>
          </p:nvSpPr>
          <p:spPr>
            <a:xfrm>
              <a:off x="8028130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People / Org.</a:t>
              </a:r>
            </a:p>
          </p:txBody>
        </p:sp>
        <p:sp>
          <p:nvSpPr>
            <p:cNvPr id="27" name="Google Shape;390;p6">
              <a:extLst>
                <a:ext uri="{FF2B5EF4-FFF2-40B4-BE49-F238E27FC236}">
                  <a16:creationId xmlns:a16="http://schemas.microsoft.com/office/drawing/2014/main" id="{5921D740-263C-431C-BBFF-45BA602C43AE}"/>
                </a:ext>
              </a:extLst>
            </p:cNvPr>
            <p:cNvSpPr/>
            <p:nvPr/>
          </p:nvSpPr>
          <p:spPr>
            <a:xfrm>
              <a:off x="9790344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Technology</a:t>
              </a:r>
            </a:p>
          </p:txBody>
        </p:sp>
        <p:sp>
          <p:nvSpPr>
            <p:cNvPr id="43" name="Google Shape;390;p6">
              <a:extLst>
                <a:ext uri="{FF2B5EF4-FFF2-40B4-BE49-F238E27FC236}">
                  <a16:creationId xmlns:a16="http://schemas.microsoft.com/office/drawing/2014/main" id="{C1C3A8C7-36D0-4B56-849E-1D87F6F64CE9}"/>
                </a:ext>
              </a:extLst>
            </p:cNvPr>
            <p:cNvSpPr/>
            <p:nvPr/>
          </p:nvSpPr>
          <p:spPr>
            <a:xfrm>
              <a:off x="979266" y="5805353"/>
              <a:ext cx="1419214" cy="297726"/>
            </a:xfrm>
            <a:prstGeom prst="rect">
              <a:avLst/>
            </a:prstGeom>
            <a:solidFill>
              <a:srgbClr val="6F787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lvl="0" algn="ctr"/>
              <a:r>
                <a:rPr lang="en-US" sz="1200" dirty="0">
                  <a:solidFill>
                    <a:srgbClr val="FFFFFF"/>
                  </a:solidFill>
                  <a:latin typeface="Gill Sans MT" panose="020B0502020104020203" pitchFamily="34" charset="0"/>
                  <a:ea typeface="Arial Black"/>
                  <a:cs typeface="Arial Black"/>
                  <a:sym typeface="Arial Black"/>
                </a:rPr>
                <a:t>Unique I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811254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BF0439-4F6C-4F92-B93A-5A5E46434B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ing Program Execution and Developing Phase I of the Platform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B151C8F-1B5D-49D4-8B21-683FD3D38D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4D48C1-C49C-429E-BBD2-227D0ABE3B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BEE4C62-7DA9-4304-93B8-81D66831A8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3</a:t>
            </a:fld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6878B10-774C-4C91-AEEF-D6A4C7B4C9BD}"/>
              </a:ext>
            </a:extLst>
          </p:cNvPr>
          <p:cNvGrpSpPr/>
          <p:nvPr/>
        </p:nvGrpSpPr>
        <p:grpSpPr>
          <a:xfrm>
            <a:off x="418950" y="1140442"/>
            <a:ext cx="10956622" cy="1732836"/>
            <a:chOff x="418950" y="1086012"/>
            <a:chExt cx="10956622" cy="1732836"/>
          </a:xfrm>
        </p:grpSpPr>
        <p:sp>
          <p:nvSpPr>
            <p:cNvPr id="10" name="Isosceles Triangle 9">
              <a:extLst>
                <a:ext uri="{FF2B5EF4-FFF2-40B4-BE49-F238E27FC236}">
                  <a16:creationId xmlns:a16="http://schemas.microsoft.com/office/drawing/2014/main" id="{7D0D2107-9487-4A84-8F09-CEF0EFC901AE}"/>
                </a:ext>
              </a:extLst>
            </p:cNvPr>
            <p:cNvSpPr/>
            <p:nvPr/>
          </p:nvSpPr>
          <p:spPr bwMode="gray">
            <a:xfrm rot="2700000" flipV="1">
              <a:off x="421254" y="1175706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4F58E67B-C21C-4024-826C-356B1EE70E30}"/>
                </a:ext>
              </a:extLst>
            </p:cNvPr>
            <p:cNvSpPr/>
            <p:nvPr/>
          </p:nvSpPr>
          <p:spPr bwMode="gray">
            <a:xfrm>
              <a:off x="551268" y="1086012"/>
              <a:ext cx="9302623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Maintaining Momentum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6025786-13F6-432F-8EE9-5AD1CCC24D84}"/>
                </a:ext>
              </a:extLst>
            </p:cNvPr>
            <p:cNvSpPr/>
            <p:nvPr/>
          </p:nvSpPr>
          <p:spPr>
            <a:xfrm>
              <a:off x="841150" y="1574657"/>
              <a:ext cx="10534422" cy="1244191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re is sustained support from members of the cross-jurisdictional Executive Steering Committee (ESC)* to guide program progress</a:t>
              </a:r>
            </a:p>
            <a:p>
              <a:pPr marL="285750" indent="-2857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Offense-based Tracking Number (OBTN) workshops have continued to conduct a detailed walk-through of the OBTN from arrest to release with a wide range of stakeholders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B36DD5D-4D98-47FA-B206-6D83AF08285B}"/>
              </a:ext>
            </a:extLst>
          </p:cNvPr>
          <p:cNvGrpSpPr/>
          <p:nvPr/>
        </p:nvGrpSpPr>
        <p:grpSpPr>
          <a:xfrm>
            <a:off x="418951" y="4564452"/>
            <a:ext cx="10956621" cy="1456977"/>
            <a:chOff x="418950" y="4554598"/>
            <a:chExt cx="10956621" cy="1456977"/>
          </a:xfrm>
        </p:grpSpPr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F0868F2F-3308-49ED-B317-446F36560BF3}"/>
                </a:ext>
              </a:extLst>
            </p:cNvPr>
            <p:cNvSpPr/>
            <p:nvPr/>
          </p:nvSpPr>
          <p:spPr bwMode="gray">
            <a:xfrm rot="2700000" flipV="1">
              <a:off x="421254" y="4644292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B120283-EF73-4CC8-BC4C-1154424F441E}"/>
                </a:ext>
              </a:extLst>
            </p:cNvPr>
            <p:cNvSpPr/>
            <p:nvPr/>
          </p:nvSpPr>
          <p:spPr bwMode="gray">
            <a:xfrm>
              <a:off x="551268" y="4554598"/>
              <a:ext cx="8953651" cy="457200"/>
            </a:xfrm>
            <a:prstGeom prst="rect">
              <a:avLst/>
            </a:prstGeom>
            <a:noFill/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Developing the Cross-Tracking Platform</a:t>
              </a:r>
              <a:endParaRPr lang="en-US" b="1" kern="0" dirty="0">
                <a:solidFill>
                  <a:schemeClr val="tx2"/>
                </a:solidFill>
                <a:highlight>
                  <a:srgbClr val="FFFF00"/>
                </a:highlight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722B6AA-99BE-41FC-B787-1DDD56E85EBC}"/>
                </a:ext>
              </a:extLst>
            </p:cNvPr>
            <p:cNvSpPr/>
            <p:nvPr/>
          </p:nvSpPr>
          <p:spPr>
            <a:xfrm>
              <a:off x="841150" y="5051455"/>
              <a:ext cx="10534421" cy="960120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Given the complexity of cross tracking, the Commonwealth is taking a phased, iterative approach to developing the target state cross-tracking platform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There are established initial use cases to guide the requirements for the development of Phase I 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D187A2D2-3F3C-4A29-BE2A-9119CCDD0894}"/>
              </a:ext>
            </a:extLst>
          </p:cNvPr>
          <p:cNvSpPr txBox="1"/>
          <p:nvPr/>
        </p:nvSpPr>
        <p:spPr>
          <a:xfrm>
            <a:off x="381175" y="6256852"/>
            <a:ext cx="641266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>
                <a:latin typeface="Gill Sans MT" panose="020B0502020104020203" pitchFamily="34" charset="0"/>
              </a:rPr>
              <a:t>* Note:  The Appendix contains the project governance structure.</a:t>
            </a:r>
            <a:endParaRPr lang="en-US" sz="1600" i="1" dirty="0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812AF3F-8407-4B20-BCBF-D1C9264D4BB8}"/>
              </a:ext>
            </a:extLst>
          </p:cNvPr>
          <p:cNvGrpSpPr/>
          <p:nvPr/>
        </p:nvGrpSpPr>
        <p:grpSpPr>
          <a:xfrm>
            <a:off x="418950" y="3000361"/>
            <a:ext cx="10920355" cy="1437009"/>
            <a:chOff x="418950" y="2906391"/>
            <a:chExt cx="10920355" cy="1437009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BC9476-A866-4BFD-AEDF-C1AC35A6DB84}"/>
                </a:ext>
              </a:extLst>
            </p:cNvPr>
            <p:cNvSpPr/>
            <p:nvPr/>
          </p:nvSpPr>
          <p:spPr bwMode="gray">
            <a:xfrm>
              <a:off x="551268" y="2906391"/>
              <a:ext cx="10775295" cy="4572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</a:ln>
            <a:effectLst/>
          </p:spPr>
          <p:txBody>
            <a:bodyPr lIns="365760"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en-US" b="1" kern="0" dirty="0">
                  <a:solidFill>
                    <a:schemeClr val="tx2"/>
                  </a:solidFill>
                  <a:latin typeface="Gill Sans MT" panose="020B0502020104020203" pitchFamily="34" charset="0"/>
                  <a:ea typeface="Arial Unicode MS"/>
                  <a:cs typeface="Arial Unicode MS"/>
                </a:rPr>
                <a:t>Establishing Standard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1EEC16D-2BE7-4B81-864E-FE8DC21F806C}"/>
                </a:ext>
              </a:extLst>
            </p:cNvPr>
            <p:cNvSpPr/>
            <p:nvPr/>
          </p:nvSpPr>
          <p:spPr>
            <a:xfrm>
              <a:off x="841150" y="3382897"/>
              <a:ext cx="10498155" cy="960503"/>
            </a:xfrm>
            <a:prstGeom prst="rect">
              <a:avLst/>
            </a:prstGeom>
          </p:spPr>
          <p:txBody>
            <a:bodyPr>
              <a:no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501 CMR 18.00 promulgated on December 24, 2021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800" dirty="0">
                  <a:latin typeface="Gill Sans MT" panose="020B0502020104020203" pitchFamily="34" charset="0"/>
                </a:rPr>
                <a:t>Multiple workstreams have developed or are developing Standard Operating Procedures (SOP) to establish repeatable methods of collecting required data</a:t>
              </a: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111838B9-2220-41F5-BDE6-E45512A7E97A}"/>
                </a:ext>
              </a:extLst>
            </p:cNvPr>
            <p:cNvSpPr/>
            <p:nvPr/>
          </p:nvSpPr>
          <p:spPr bwMode="gray">
            <a:xfrm rot="2700000" flipV="1">
              <a:off x="421254" y="3005738"/>
              <a:ext cx="273205" cy="277813"/>
            </a:xfrm>
            <a:prstGeom prst="triangle">
              <a:avLst>
                <a:gd name="adj" fmla="val 100000"/>
              </a:avLst>
            </a:prstGeom>
            <a:solidFill>
              <a:srgbClr val="1F497D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>
                <a:spcBef>
                  <a:spcPct val="50000"/>
                </a:spcBef>
                <a:spcAft>
                  <a:spcPct val="0"/>
                </a:spcAft>
                <a:defRPr/>
              </a:pPr>
              <a:endParaRPr lang="en-US" sz="1600" kern="0" dirty="0">
                <a:solidFill>
                  <a:srgbClr val="000000"/>
                </a:solidFill>
                <a:latin typeface="Gill Sans MT" panose="020B0502020104020203" pitchFamily="34" charset="0"/>
                <a:ea typeface="Arial Unicode MS"/>
                <a:cs typeface="Arial Unicode M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459858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761379-2A4E-4645-A8B6-13FD8AF88F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I Cross Tracking Platform Use Case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F7075B-63A6-4B12-94B5-3601390219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540FE7-E868-4F38-B2D0-E6BD80F63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631AE2-E4A7-4402-A09B-DA0F7735D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4</a:t>
            </a:fld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3D22876-DC70-49DD-A83D-BD24ABBAF272}"/>
              </a:ext>
            </a:extLst>
          </p:cNvPr>
          <p:cNvGrpSpPr/>
          <p:nvPr/>
        </p:nvGrpSpPr>
        <p:grpSpPr bwMode="gray">
          <a:xfrm>
            <a:off x="476655" y="1358206"/>
            <a:ext cx="11430000" cy="4330821"/>
            <a:chOff x="476655" y="1358206"/>
            <a:chExt cx="11430000" cy="4330821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BFA753A-3A02-4CEA-8ECE-7110FC57C18A}"/>
                </a:ext>
              </a:extLst>
            </p:cNvPr>
            <p:cNvSpPr/>
            <p:nvPr/>
          </p:nvSpPr>
          <p:spPr bwMode="gray">
            <a:xfrm>
              <a:off x="476890" y="1680719"/>
              <a:ext cx="2119441" cy="1234874"/>
            </a:xfrm>
            <a:prstGeom prst="rect">
              <a:avLst/>
            </a:prstGeom>
            <a:solidFill>
              <a:srgbClr val="1F497D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548640" rIns="0" bIns="0" rtlCol="0" anchor="ctr">
              <a:noAutofit/>
            </a:bodyPr>
            <a:lstStyle/>
            <a:p>
              <a:pPr algn="ctr"/>
              <a:r>
                <a:rPr lang="en-US" sz="1300" b="1">
                  <a:solidFill>
                    <a:schemeClr val="bg1"/>
                  </a:solidFill>
                  <a:latin typeface="Gill Sans MT" panose="020B0502020104020203" pitchFamily="34" charset="0"/>
                </a:rPr>
                <a:t>Public Cross-Tracking Dashboard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D95840-02C0-47A7-825B-9E8F8219AECA}"/>
                </a:ext>
              </a:extLst>
            </p:cNvPr>
            <p:cNvSpPr/>
            <p:nvPr/>
          </p:nvSpPr>
          <p:spPr bwMode="gray">
            <a:xfrm>
              <a:off x="7324179" y="1680719"/>
              <a:ext cx="4428490" cy="1303046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spcAft>
                  <a:spcPts val="3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1A: Connect/display anonymized population data from Sheriffs and Corrections that is curated and filterable by demographics and offense categories</a:t>
              </a:r>
            </a:p>
            <a:p>
              <a:pPr marL="171450" indent="-171450">
                <a:spcAft>
                  <a:spcPts val="3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1B: Incorporate Trial Courts data with ability to segment the population by probation violation and post-release status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CD19958-0AB4-4FAF-A11D-77B02F21D14D}"/>
                </a:ext>
              </a:extLst>
            </p:cNvPr>
            <p:cNvSpPr/>
            <p:nvPr/>
          </p:nvSpPr>
          <p:spPr bwMode="gray">
            <a:xfrm>
              <a:off x="2789030" y="1680719"/>
              <a:ext cx="4396528" cy="1303045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Comprehensive, public-facing dashboard to support analytics at the institutional level for statutory data fields (demographics, admission/release dates, etc.) across public safety and justice entities (i.e. Sheriffs, Trial Courts, Corrections)</a:t>
              </a:r>
            </a:p>
          </p:txBody>
        </p:sp>
        <p:cxnSp>
          <p:nvCxnSpPr>
            <p:cNvPr id="10" name="Connettore diritto 12">
              <a:extLst>
                <a:ext uri="{FF2B5EF4-FFF2-40B4-BE49-F238E27FC236}">
                  <a16:creationId xmlns:a16="http://schemas.microsoft.com/office/drawing/2014/main" id="{99C48763-648B-4600-BA1D-B790B7D0F872}"/>
                </a:ext>
              </a:extLst>
            </p:cNvPr>
            <p:cNvCxnSpPr/>
            <p:nvPr/>
          </p:nvCxnSpPr>
          <p:spPr bwMode="gray">
            <a:xfrm>
              <a:off x="2692680" y="2983765"/>
              <a:ext cx="9103962" cy="0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rgbClr val="6F7878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247358B-5B45-4EC9-93B7-A9EE0DDB162E}"/>
                </a:ext>
              </a:extLst>
            </p:cNvPr>
            <p:cNvSpPr/>
            <p:nvPr/>
          </p:nvSpPr>
          <p:spPr bwMode="gray">
            <a:xfrm>
              <a:off x="2789030" y="3042575"/>
              <a:ext cx="4396528" cy="1293821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Streamlined, 360-degree view of individuals in the criminal justice system by using unique identifiers to link available, non-anonymized data for internal use to improve operational efficiencies and drive subsequent contact analysis and research</a:t>
              </a:r>
            </a:p>
          </p:txBody>
        </p:sp>
        <p:cxnSp>
          <p:nvCxnSpPr>
            <p:cNvPr id="12" name="Connettore diritto 12">
              <a:extLst>
                <a:ext uri="{FF2B5EF4-FFF2-40B4-BE49-F238E27FC236}">
                  <a16:creationId xmlns:a16="http://schemas.microsoft.com/office/drawing/2014/main" id="{7A01DB65-8399-43BD-A268-84136FF95709}"/>
                </a:ext>
              </a:extLst>
            </p:cNvPr>
            <p:cNvCxnSpPr/>
            <p:nvPr/>
          </p:nvCxnSpPr>
          <p:spPr bwMode="gray">
            <a:xfrm>
              <a:off x="2645600" y="4336396"/>
              <a:ext cx="9103962" cy="0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rgbClr val="6F7878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EC8425B-7615-49E1-95CA-19257018DA65}"/>
                </a:ext>
              </a:extLst>
            </p:cNvPr>
            <p:cNvSpPr/>
            <p:nvPr/>
          </p:nvSpPr>
          <p:spPr bwMode="gray">
            <a:xfrm>
              <a:off x="2789029" y="4395205"/>
              <a:ext cx="4397016" cy="1225093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Dynamic dashboard to analyze the impact of evidence-based programs on subsequent contact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C45F3A7-53C7-4BD5-86DD-1764322F44B2}"/>
                </a:ext>
              </a:extLst>
            </p:cNvPr>
            <p:cNvSpPr/>
            <p:nvPr/>
          </p:nvSpPr>
          <p:spPr bwMode="gray">
            <a:xfrm>
              <a:off x="476655" y="3042575"/>
              <a:ext cx="2119441" cy="1234874"/>
            </a:xfrm>
            <a:prstGeom prst="rect">
              <a:avLst/>
            </a:prstGeom>
            <a:solidFill>
              <a:srgbClr val="1F497D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548640" rIns="0" bIns="0" rtlCol="0" anchor="ctr">
              <a:noAutofit/>
            </a:bodyPr>
            <a:lstStyle/>
            <a:p>
              <a:pPr algn="ctr"/>
              <a:r>
                <a:rPr lang="en-US" sz="1300" b="1" dirty="0">
                  <a:solidFill>
                    <a:schemeClr val="bg1"/>
                  </a:solidFill>
                  <a:latin typeface="Gill Sans MT" panose="020B0502020104020203" pitchFamily="34" charset="0"/>
                </a:rPr>
                <a:t>MA Dashboard for Operation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A290AAC9-B00B-4D29-A4F6-919E98B01B4D}"/>
                </a:ext>
              </a:extLst>
            </p:cNvPr>
            <p:cNvSpPr/>
            <p:nvPr/>
          </p:nvSpPr>
          <p:spPr bwMode="gray">
            <a:xfrm>
              <a:off x="476890" y="4385431"/>
              <a:ext cx="2119441" cy="1234874"/>
            </a:xfrm>
            <a:prstGeom prst="rect">
              <a:avLst/>
            </a:prstGeom>
            <a:solidFill>
              <a:srgbClr val="1F497D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548640" rIns="0" bIns="0" rtlCol="0" anchor="ctr">
              <a:noAutofit/>
            </a:bodyPr>
            <a:lstStyle/>
            <a:p>
              <a:pPr algn="ctr"/>
              <a:r>
                <a:rPr lang="en-US" sz="1300" b="1">
                  <a:solidFill>
                    <a:schemeClr val="bg1"/>
                  </a:solidFill>
                  <a:latin typeface="Gill Sans MT" panose="020B0502020104020203" pitchFamily="34" charset="0"/>
                </a:rPr>
                <a:t>Program Impact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5788231-759C-4199-91FE-FA8BFA7B00A0}"/>
                </a:ext>
              </a:extLst>
            </p:cNvPr>
            <p:cNvSpPr/>
            <p:nvPr/>
          </p:nvSpPr>
          <p:spPr bwMode="gray">
            <a:xfrm>
              <a:off x="7317429" y="3042574"/>
              <a:ext cx="4589226" cy="1195183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Link available, non-anonymized data for a cohort across cases and agencies and present data in a consolidated format</a:t>
              </a:r>
            </a:p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Analyze how SID and OBTN are available to support linkages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F03F944-BB34-4E6E-985D-9430BD433EAD}"/>
                </a:ext>
              </a:extLst>
            </p:cNvPr>
            <p:cNvSpPr/>
            <p:nvPr/>
          </p:nvSpPr>
          <p:spPr bwMode="gray">
            <a:xfrm>
              <a:off x="7321523" y="4395206"/>
              <a:ext cx="4491714" cy="1293821"/>
            </a:xfrm>
            <a:prstGeom prst="rect">
              <a:avLst/>
            </a:prstGeom>
            <a:solidFill>
              <a:schemeClr val="bg1"/>
            </a:solidFill>
            <a:ln w="9525">
              <a:noFill/>
              <a:round/>
              <a:headEnd/>
              <a:tailEnd/>
            </a:ln>
            <a:effectLst/>
          </p:spPr>
          <p:txBody>
            <a:bodyPr lIns="0" tIns="0" rIns="72000" rtlCol="0" anchor="t">
              <a:noAutofit/>
            </a:bodyPr>
            <a:lstStyle/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Extract enrollment and completion information from select evidence-based program(s) and connect available criminal history across agencies</a:t>
              </a:r>
            </a:p>
            <a:p>
              <a:pPr marL="171450" indent="-171450">
                <a:spcAft>
                  <a:spcPts val="600"/>
                </a:spcAft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</a:pPr>
              <a:r>
                <a:rPr lang="en-US" sz="1400" dirty="0">
                  <a:latin typeface="Gill Sans MT" panose="020B0502020104020203" pitchFamily="34" charset="0"/>
                </a:rPr>
                <a:t>Analyze relationships between rearrest and program completion</a:t>
              </a:r>
            </a:p>
          </p:txBody>
        </p:sp>
        <p:cxnSp>
          <p:nvCxnSpPr>
            <p:cNvPr id="18" name="Connettore diritto 12">
              <a:extLst>
                <a:ext uri="{FF2B5EF4-FFF2-40B4-BE49-F238E27FC236}">
                  <a16:creationId xmlns:a16="http://schemas.microsoft.com/office/drawing/2014/main" id="{3CF468C3-ED87-43F4-97AE-AD967932C1F1}"/>
                </a:ext>
              </a:extLst>
            </p:cNvPr>
            <p:cNvCxnSpPr/>
            <p:nvPr/>
          </p:nvCxnSpPr>
          <p:spPr bwMode="gray">
            <a:xfrm>
              <a:off x="481036" y="1581440"/>
              <a:ext cx="2119441" cy="0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" name="Connettore diritto 12">
              <a:extLst>
                <a:ext uri="{FF2B5EF4-FFF2-40B4-BE49-F238E27FC236}">
                  <a16:creationId xmlns:a16="http://schemas.microsoft.com/office/drawing/2014/main" id="{93161DD6-C085-4602-BB26-5C1AF0C5C3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7510566" y="1581440"/>
              <a:ext cx="4242102" cy="0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0" name="Connettore diritto 12">
              <a:extLst>
                <a:ext uri="{FF2B5EF4-FFF2-40B4-BE49-F238E27FC236}">
                  <a16:creationId xmlns:a16="http://schemas.microsoft.com/office/drawing/2014/main" id="{7BE9621A-439A-4A2A-B880-561A42BB96D4}"/>
                </a:ext>
              </a:extLst>
            </p:cNvPr>
            <p:cNvCxnSpPr/>
            <p:nvPr/>
          </p:nvCxnSpPr>
          <p:spPr bwMode="gray">
            <a:xfrm>
              <a:off x="2789532" y="1581440"/>
              <a:ext cx="4527897" cy="0"/>
            </a:xfrm>
            <a:prstGeom prst="line">
              <a:avLst/>
            </a:prstGeom>
            <a:solidFill>
              <a:schemeClr val="bg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" name="Rectangle 2">
              <a:extLst>
                <a:ext uri="{FF2B5EF4-FFF2-40B4-BE49-F238E27FC236}">
                  <a16:creationId xmlns:a16="http://schemas.microsoft.com/office/drawing/2014/main" id="{47CF4C72-D2D1-4ED5-A448-9F0AB2D9600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83004" y="1358206"/>
              <a:ext cx="2085064" cy="1888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en-US" sz="1400" b="1" dirty="0">
                  <a:solidFill>
                    <a:srgbClr val="1F497D"/>
                  </a:solidFill>
                  <a:latin typeface="Gill Sans MT" panose="020B0502020104020203" pitchFamily="34" charset="0"/>
                </a:rPr>
                <a:t>User Story</a:t>
              </a:r>
            </a:p>
          </p:txBody>
        </p:sp>
        <p:sp>
          <p:nvSpPr>
            <p:cNvPr id="22" name="Rectangle 2">
              <a:extLst>
                <a:ext uri="{FF2B5EF4-FFF2-40B4-BE49-F238E27FC236}">
                  <a16:creationId xmlns:a16="http://schemas.microsoft.com/office/drawing/2014/main" id="{7A0B4FC7-F68E-4795-8C4D-B697F4D82253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7510566" y="1358206"/>
              <a:ext cx="4206150" cy="1888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en-US" sz="1400" b="1" dirty="0">
                  <a:solidFill>
                    <a:srgbClr val="1F497D"/>
                  </a:solidFill>
                  <a:latin typeface="Gill Sans MT" panose="020B0502020104020203" pitchFamily="34" charset="0"/>
                </a:rPr>
                <a:t>Proposed Phase 1</a:t>
              </a:r>
            </a:p>
          </p:txBody>
        </p:sp>
        <p:sp>
          <p:nvSpPr>
            <p:cNvPr id="23" name="Rectangle 2">
              <a:extLst>
                <a:ext uri="{FF2B5EF4-FFF2-40B4-BE49-F238E27FC236}">
                  <a16:creationId xmlns:a16="http://schemas.microsoft.com/office/drawing/2014/main" id="{DB8B6C67-4DC5-4E34-B405-32806543AC9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842350" y="1358206"/>
              <a:ext cx="4475081" cy="188855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</p:spPr>
          <p:txBody>
            <a:bodyPr wrap="square" lIns="0" tIns="0" rIns="0" bIns="0" anchor="ctr" anchorCtr="0">
              <a:noAutofit/>
            </a:bodyPr>
            <a:lstStyle/>
            <a:p>
              <a:r>
                <a:rPr lang="en-US" sz="1400" b="1" dirty="0">
                  <a:solidFill>
                    <a:srgbClr val="1F497D"/>
                  </a:solidFill>
                  <a:latin typeface="Gill Sans MT" panose="020B0502020104020203" pitchFamily="34" charset="0"/>
                </a:rPr>
                <a:t>Future State Description</a:t>
              </a:r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663933A-EDE2-4ADB-9BFC-3BABD7596BE8}"/>
              </a:ext>
            </a:extLst>
          </p:cNvPr>
          <p:cNvSpPr>
            <a:spLocks noChangeAspect="1"/>
          </p:cNvSpPr>
          <p:nvPr/>
        </p:nvSpPr>
        <p:spPr bwMode="gray">
          <a:xfrm>
            <a:off x="1254838" y="1848145"/>
            <a:ext cx="504825" cy="504825"/>
          </a:xfrm>
          <a:custGeom>
            <a:avLst/>
            <a:gdLst>
              <a:gd name="connsiteX0" fmla="*/ 259556 w 504825"/>
              <a:gd name="connsiteY0" fmla="*/ 503777 h 504825"/>
              <a:gd name="connsiteX1" fmla="*/ 258985 w 504825"/>
              <a:gd name="connsiteY1" fmla="*/ 465677 h 504825"/>
              <a:gd name="connsiteX2" fmla="*/ 372618 w 504825"/>
              <a:gd name="connsiteY2" fmla="*/ 430149 h 504825"/>
              <a:gd name="connsiteX3" fmla="*/ 393954 w 504825"/>
              <a:gd name="connsiteY3" fmla="*/ 461772 h 504825"/>
              <a:gd name="connsiteX4" fmla="*/ 259556 w 504825"/>
              <a:gd name="connsiteY4" fmla="*/ 503777 h 504825"/>
              <a:gd name="connsiteX5" fmla="*/ 214884 w 504825"/>
              <a:gd name="connsiteY5" fmla="*/ 461867 h 504825"/>
              <a:gd name="connsiteX6" fmla="*/ 62675 w 504825"/>
              <a:gd name="connsiteY6" fmla="*/ 338709 h 504825"/>
              <a:gd name="connsiteX7" fmla="*/ 27718 w 504825"/>
              <a:gd name="connsiteY7" fmla="*/ 353854 h 504825"/>
              <a:gd name="connsiteX8" fmla="*/ 207550 w 504825"/>
              <a:gd name="connsiteY8" fmla="*/ 499205 h 504825"/>
              <a:gd name="connsiteX9" fmla="*/ 214884 w 504825"/>
              <a:gd name="connsiteY9" fmla="*/ 461867 h 504825"/>
              <a:gd name="connsiteX10" fmla="*/ 503873 w 504825"/>
              <a:gd name="connsiteY10" fmla="*/ 254889 h 504825"/>
              <a:gd name="connsiteX11" fmla="*/ 499586 w 504825"/>
              <a:gd name="connsiteY11" fmla="*/ 209550 h 504825"/>
              <a:gd name="connsiteX12" fmla="*/ 462153 w 504825"/>
              <a:gd name="connsiteY12" fmla="*/ 216408 h 504825"/>
              <a:gd name="connsiteX13" fmla="*/ 465773 w 504825"/>
              <a:gd name="connsiteY13" fmla="*/ 254889 h 504825"/>
              <a:gd name="connsiteX14" fmla="*/ 406432 w 504825"/>
              <a:gd name="connsiteY14" fmla="*/ 401574 h 504825"/>
              <a:gd name="connsiteX15" fmla="*/ 433864 w 504825"/>
              <a:gd name="connsiteY15" fmla="*/ 428054 h 504825"/>
              <a:gd name="connsiteX16" fmla="*/ 503873 w 504825"/>
              <a:gd name="connsiteY16" fmla="*/ 254889 h 504825"/>
              <a:gd name="connsiteX17" fmla="*/ 484823 w 504825"/>
              <a:gd name="connsiteY17" fmla="*/ 159163 h 504825"/>
              <a:gd name="connsiteX18" fmla="*/ 281654 w 504825"/>
              <a:gd name="connsiteY18" fmla="*/ 7144 h 504825"/>
              <a:gd name="connsiteX19" fmla="*/ 277654 w 504825"/>
              <a:gd name="connsiteY19" fmla="*/ 45053 h 504825"/>
              <a:gd name="connsiteX20" fmla="*/ 449675 w 504825"/>
              <a:gd name="connsiteY20" fmla="*/ 173831 h 504825"/>
              <a:gd name="connsiteX21" fmla="*/ 484823 w 504825"/>
              <a:gd name="connsiteY21" fmla="*/ 159163 h 504825"/>
              <a:gd name="connsiteX22" fmla="*/ 49339 w 504825"/>
              <a:gd name="connsiteY22" fmla="*/ 296323 h 504825"/>
              <a:gd name="connsiteX23" fmla="*/ 45244 w 504825"/>
              <a:gd name="connsiteY23" fmla="*/ 254889 h 504825"/>
              <a:gd name="connsiteX24" fmla="*/ 233363 w 504825"/>
              <a:gd name="connsiteY24" fmla="*/ 45053 h 504825"/>
              <a:gd name="connsiteX25" fmla="*/ 229362 w 504825"/>
              <a:gd name="connsiteY25" fmla="*/ 7144 h 504825"/>
              <a:gd name="connsiteX26" fmla="*/ 7144 w 504825"/>
              <a:gd name="connsiteY26" fmla="*/ 254889 h 504825"/>
              <a:gd name="connsiteX27" fmla="*/ 12002 w 504825"/>
              <a:gd name="connsiteY27" fmla="*/ 303752 h 504825"/>
              <a:gd name="connsiteX28" fmla="*/ 49339 w 504825"/>
              <a:gd name="connsiteY28" fmla="*/ 296323 h 504825"/>
              <a:gd name="connsiteX29" fmla="*/ 141256 w 504825"/>
              <a:gd name="connsiteY29" fmla="*/ 245174 h 504825"/>
              <a:gd name="connsiteX30" fmla="*/ 103156 w 504825"/>
              <a:gd name="connsiteY30" fmla="*/ 245174 h 504825"/>
              <a:gd name="connsiteX31" fmla="*/ 103156 w 504825"/>
              <a:gd name="connsiteY31" fmla="*/ 349948 h 504825"/>
              <a:gd name="connsiteX32" fmla="*/ 141256 w 504825"/>
              <a:gd name="connsiteY32" fmla="*/ 349948 h 504825"/>
              <a:gd name="connsiteX33" fmla="*/ 141256 w 504825"/>
              <a:gd name="connsiteY33" fmla="*/ 245174 h 504825"/>
              <a:gd name="connsiteX34" fmla="*/ 207931 w 504825"/>
              <a:gd name="connsiteY34" fmla="*/ 121349 h 504825"/>
              <a:gd name="connsiteX35" fmla="*/ 169831 w 504825"/>
              <a:gd name="connsiteY35" fmla="*/ 121349 h 504825"/>
              <a:gd name="connsiteX36" fmla="*/ 169831 w 504825"/>
              <a:gd name="connsiteY36" fmla="*/ 349948 h 504825"/>
              <a:gd name="connsiteX37" fmla="*/ 207931 w 504825"/>
              <a:gd name="connsiteY37" fmla="*/ 349948 h 504825"/>
              <a:gd name="connsiteX38" fmla="*/ 207931 w 504825"/>
              <a:gd name="connsiteY38" fmla="*/ 121349 h 504825"/>
              <a:gd name="connsiteX39" fmla="*/ 341281 w 504825"/>
              <a:gd name="connsiteY39" fmla="*/ 159449 h 504825"/>
              <a:gd name="connsiteX40" fmla="*/ 303181 w 504825"/>
              <a:gd name="connsiteY40" fmla="*/ 159449 h 504825"/>
              <a:gd name="connsiteX41" fmla="*/ 303181 w 504825"/>
              <a:gd name="connsiteY41" fmla="*/ 349948 h 504825"/>
              <a:gd name="connsiteX42" fmla="*/ 341281 w 504825"/>
              <a:gd name="connsiteY42" fmla="*/ 349948 h 504825"/>
              <a:gd name="connsiteX43" fmla="*/ 341281 w 504825"/>
              <a:gd name="connsiteY43" fmla="*/ 159449 h 504825"/>
              <a:gd name="connsiteX44" fmla="*/ 274606 w 504825"/>
              <a:gd name="connsiteY44" fmla="*/ 207074 h 504825"/>
              <a:gd name="connsiteX45" fmla="*/ 236506 w 504825"/>
              <a:gd name="connsiteY45" fmla="*/ 207074 h 504825"/>
              <a:gd name="connsiteX46" fmla="*/ 236506 w 504825"/>
              <a:gd name="connsiteY46" fmla="*/ 349948 h 504825"/>
              <a:gd name="connsiteX47" fmla="*/ 274606 w 504825"/>
              <a:gd name="connsiteY47" fmla="*/ 349948 h 504825"/>
              <a:gd name="connsiteX48" fmla="*/ 274606 w 504825"/>
              <a:gd name="connsiteY48" fmla="*/ 207074 h 504825"/>
              <a:gd name="connsiteX49" fmla="*/ 407956 w 504825"/>
              <a:gd name="connsiteY49" fmla="*/ 226124 h 504825"/>
              <a:gd name="connsiteX50" fmla="*/ 369856 w 504825"/>
              <a:gd name="connsiteY50" fmla="*/ 226124 h 504825"/>
              <a:gd name="connsiteX51" fmla="*/ 369856 w 504825"/>
              <a:gd name="connsiteY51" fmla="*/ 349948 h 504825"/>
              <a:gd name="connsiteX52" fmla="*/ 407956 w 504825"/>
              <a:gd name="connsiteY52" fmla="*/ 349948 h 504825"/>
              <a:gd name="connsiteX53" fmla="*/ 407956 w 504825"/>
              <a:gd name="connsiteY53" fmla="*/ 226124 h 504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504825" h="504825">
                <a:moveTo>
                  <a:pt x="259556" y="503777"/>
                </a:moveTo>
                <a:lnTo>
                  <a:pt x="258985" y="465677"/>
                </a:lnTo>
                <a:cubicBezTo>
                  <a:pt x="299847" y="465011"/>
                  <a:pt x="339090" y="452723"/>
                  <a:pt x="372618" y="430149"/>
                </a:cubicBezTo>
                <a:lnTo>
                  <a:pt x="393954" y="461772"/>
                </a:lnTo>
                <a:cubicBezTo>
                  <a:pt x="354235" y="488442"/>
                  <a:pt x="307753" y="503015"/>
                  <a:pt x="259556" y="503777"/>
                </a:cubicBezTo>
                <a:close/>
                <a:moveTo>
                  <a:pt x="214884" y="461867"/>
                </a:moveTo>
                <a:cubicBezTo>
                  <a:pt x="147161" y="448532"/>
                  <a:pt x="90202" y="402527"/>
                  <a:pt x="62675" y="338709"/>
                </a:cubicBezTo>
                <a:lnTo>
                  <a:pt x="27718" y="353854"/>
                </a:lnTo>
                <a:cubicBezTo>
                  <a:pt x="60293" y="429101"/>
                  <a:pt x="127540" y="483489"/>
                  <a:pt x="207550" y="499205"/>
                </a:cubicBezTo>
                <a:lnTo>
                  <a:pt x="214884" y="461867"/>
                </a:lnTo>
                <a:close/>
                <a:moveTo>
                  <a:pt x="503873" y="254889"/>
                </a:moveTo>
                <a:cubicBezTo>
                  <a:pt x="503873" y="240125"/>
                  <a:pt x="502444" y="225266"/>
                  <a:pt x="499586" y="209550"/>
                </a:cubicBezTo>
                <a:lnTo>
                  <a:pt x="462153" y="216408"/>
                </a:lnTo>
                <a:cubicBezTo>
                  <a:pt x="464630" y="229838"/>
                  <a:pt x="465773" y="242411"/>
                  <a:pt x="465773" y="254889"/>
                </a:cubicBezTo>
                <a:cubicBezTo>
                  <a:pt x="465773" y="309848"/>
                  <a:pt x="444722" y="361950"/>
                  <a:pt x="406432" y="401574"/>
                </a:cubicBezTo>
                <a:lnTo>
                  <a:pt x="433864" y="428054"/>
                </a:lnTo>
                <a:cubicBezTo>
                  <a:pt x="479013" y="381191"/>
                  <a:pt x="503873" y="319754"/>
                  <a:pt x="503873" y="254889"/>
                </a:cubicBezTo>
                <a:close/>
                <a:moveTo>
                  <a:pt x="484823" y="159163"/>
                </a:moveTo>
                <a:cubicBezTo>
                  <a:pt x="449866" y="74867"/>
                  <a:pt x="371951" y="16669"/>
                  <a:pt x="281654" y="7144"/>
                </a:cubicBezTo>
                <a:lnTo>
                  <a:pt x="277654" y="45053"/>
                </a:lnTo>
                <a:cubicBezTo>
                  <a:pt x="354044" y="53054"/>
                  <a:pt x="419958" y="102394"/>
                  <a:pt x="449675" y="173831"/>
                </a:cubicBezTo>
                <a:lnTo>
                  <a:pt x="484823" y="159163"/>
                </a:lnTo>
                <a:close/>
                <a:moveTo>
                  <a:pt x="49339" y="296323"/>
                </a:moveTo>
                <a:cubicBezTo>
                  <a:pt x="46577" y="282607"/>
                  <a:pt x="45244" y="268605"/>
                  <a:pt x="45244" y="254889"/>
                </a:cubicBezTo>
                <a:cubicBezTo>
                  <a:pt x="45244" y="146495"/>
                  <a:pt x="126111" y="56293"/>
                  <a:pt x="233363" y="45053"/>
                </a:cubicBezTo>
                <a:lnTo>
                  <a:pt x="229362" y="7144"/>
                </a:lnTo>
                <a:cubicBezTo>
                  <a:pt x="102680" y="20479"/>
                  <a:pt x="7144" y="126968"/>
                  <a:pt x="7144" y="254889"/>
                </a:cubicBezTo>
                <a:cubicBezTo>
                  <a:pt x="7144" y="271177"/>
                  <a:pt x="8763" y="287560"/>
                  <a:pt x="12002" y="303752"/>
                </a:cubicBezTo>
                <a:lnTo>
                  <a:pt x="49339" y="296323"/>
                </a:lnTo>
                <a:close/>
                <a:moveTo>
                  <a:pt x="141256" y="245174"/>
                </a:moveTo>
                <a:lnTo>
                  <a:pt x="103156" y="245174"/>
                </a:lnTo>
                <a:lnTo>
                  <a:pt x="103156" y="349948"/>
                </a:lnTo>
                <a:lnTo>
                  <a:pt x="141256" y="349948"/>
                </a:lnTo>
                <a:lnTo>
                  <a:pt x="141256" y="245174"/>
                </a:lnTo>
                <a:close/>
                <a:moveTo>
                  <a:pt x="207931" y="121349"/>
                </a:moveTo>
                <a:lnTo>
                  <a:pt x="169831" y="121349"/>
                </a:lnTo>
                <a:lnTo>
                  <a:pt x="169831" y="349948"/>
                </a:lnTo>
                <a:lnTo>
                  <a:pt x="207931" y="349948"/>
                </a:lnTo>
                <a:lnTo>
                  <a:pt x="207931" y="121349"/>
                </a:lnTo>
                <a:close/>
                <a:moveTo>
                  <a:pt x="341281" y="159449"/>
                </a:moveTo>
                <a:lnTo>
                  <a:pt x="303181" y="159449"/>
                </a:lnTo>
                <a:lnTo>
                  <a:pt x="303181" y="349948"/>
                </a:lnTo>
                <a:lnTo>
                  <a:pt x="341281" y="349948"/>
                </a:lnTo>
                <a:lnTo>
                  <a:pt x="341281" y="159449"/>
                </a:lnTo>
                <a:close/>
                <a:moveTo>
                  <a:pt x="274606" y="207074"/>
                </a:moveTo>
                <a:lnTo>
                  <a:pt x="236506" y="207074"/>
                </a:lnTo>
                <a:lnTo>
                  <a:pt x="236506" y="349948"/>
                </a:lnTo>
                <a:lnTo>
                  <a:pt x="274606" y="349948"/>
                </a:lnTo>
                <a:lnTo>
                  <a:pt x="274606" y="207074"/>
                </a:lnTo>
                <a:close/>
                <a:moveTo>
                  <a:pt x="407956" y="226124"/>
                </a:moveTo>
                <a:lnTo>
                  <a:pt x="369856" y="226124"/>
                </a:lnTo>
                <a:lnTo>
                  <a:pt x="369856" y="349948"/>
                </a:lnTo>
                <a:lnTo>
                  <a:pt x="407956" y="349948"/>
                </a:lnTo>
                <a:lnTo>
                  <a:pt x="407956" y="226124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9EF38D0-D5F7-4DF8-82D2-0C924481C276}"/>
              </a:ext>
            </a:extLst>
          </p:cNvPr>
          <p:cNvSpPr>
            <a:spLocks noChangeAspect="1"/>
          </p:cNvSpPr>
          <p:nvPr/>
        </p:nvSpPr>
        <p:spPr bwMode="gray">
          <a:xfrm>
            <a:off x="1255216" y="3247684"/>
            <a:ext cx="466725" cy="466725"/>
          </a:xfrm>
          <a:custGeom>
            <a:avLst/>
            <a:gdLst>
              <a:gd name="connsiteX0" fmla="*/ 270320 w 466725"/>
              <a:gd name="connsiteY0" fmla="*/ 325184 h 466725"/>
              <a:gd name="connsiteX1" fmla="*/ 297275 w 466725"/>
              <a:gd name="connsiteY1" fmla="*/ 352139 h 466725"/>
              <a:gd name="connsiteX2" fmla="*/ 221837 w 466725"/>
              <a:gd name="connsiteY2" fmla="*/ 427577 h 466725"/>
              <a:gd name="connsiteX3" fmla="*/ 132874 w 466725"/>
              <a:gd name="connsiteY3" fmla="*/ 464344 h 466725"/>
              <a:gd name="connsiteX4" fmla="*/ 44006 w 466725"/>
              <a:gd name="connsiteY4" fmla="*/ 427482 h 466725"/>
              <a:gd name="connsiteX5" fmla="*/ 7144 w 466725"/>
              <a:gd name="connsiteY5" fmla="*/ 338614 h 466725"/>
              <a:gd name="connsiteX6" fmla="*/ 44006 w 466725"/>
              <a:gd name="connsiteY6" fmla="*/ 249746 h 466725"/>
              <a:gd name="connsiteX7" fmla="*/ 119444 w 466725"/>
              <a:gd name="connsiteY7" fmla="*/ 174308 h 466725"/>
              <a:gd name="connsiteX8" fmla="*/ 146399 w 466725"/>
              <a:gd name="connsiteY8" fmla="*/ 201263 h 466725"/>
              <a:gd name="connsiteX9" fmla="*/ 70961 w 466725"/>
              <a:gd name="connsiteY9" fmla="*/ 276701 h 466725"/>
              <a:gd name="connsiteX10" fmla="*/ 45244 w 466725"/>
              <a:gd name="connsiteY10" fmla="*/ 338614 h 466725"/>
              <a:gd name="connsiteX11" fmla="*/ 70866 w 466725"/>
              <a:gd name="connsiteY11" fmla="*/ 400622 h 466725"/>
              <a:gd name="connsiteX12" fmla="*/ 132874 w 466725"/>
              <a:gd name="connsiteY12" fmla="*/ 426244 h 466725"/>
              <a:gd name="connsiteX13" fmla="*/ 194881 w 466725"/>
              <a:gd name="connsiteY13" fmla="*/ 400622 h 466725"/>
              <a:gd name="connsiteX14" fmla="*/ 270320 w 466725"/>
              <a:gd name="connsiteY14" fmla="*/ 325184 h 466725"/>
              <a:gd name="connsiteX15" fmla="*/ 427482 w 466725"/>
              <a:gd name="connsiteY15" fmla="*/ 44006 h 466725"/>
              <a:gd name="connsiteX16" fmla="*/ 338614 w 466725"/>
              <a:gd name="connsiteY16" fmla="*/ 7144 h 466725"/>
              <a:gd name="connsiteX17" fmla="*/ 249746 w 466725"/>
              <a:gd name="connsiteY17" fmla="*/ 44006 h 466725"/>
              <a:gd name="connsiteX18" fmla="*/ 174308 w 466725"/>
              <a:gd name="connsiteY18" fmla="*/ 119444 h 466725"/>
              <a:gd name="connsiteX19" fmla="*/ 201263 w 466725"/>
              <a:gd name="connsiteY19" fmla="*/ 146399 h 466725"/>
              <a:gd name="connsiteX20" fmla="*/ 276701 w 466725"/>
              <a:gd name="connsiteY20" fmla="*/ 70961 h 466725"/>
              <a:gd name="connsiteX21" fmla="*/ 338614 w 466725"/>
              <a:gd name="connsiteY21" fmla="*/ 45244 h 466725"/>
              <a:gd name="connsiteX22" fmla="*/ 400622 w 466725"/>
              <a:gd name="connsiteY22" fmla="*/ 70866 h 466725"/>
              <a:gd name="connsiteX23" fmla="*/ 426244 w 466725"/>
              <a:gd name="connsiteY23" fmla="*/ 132874 h 466725"/>
              <a:gd name="connsiteX24" fmla="*/ 400622 w 466725"/>
              <a:gd name="connsiteY24" fmla="*/ 194881 h 466725"/>
              <a:gd name="connsiteX25" fmla="*/ 325184 w 466725"/>
              <a:gd name="connsiteY25" fmla="*/ 270320 h 466725"/>
              <a:gd name="connsiteX26" fmla="*/ 352139 w 466725"/>
              <a:gd name="connsiteY26" fmla="*/ 297275 h 466725"/>
              <a:gd name="connsiteX27" fmla="*/ 427577 w 466725"/>
              <a:gd name="connsiteY27" fmla="*/ 221837 h 466725"/>
              <a:gd name="connsiteX28" fmla="*/ 464344 w 466725"/>
              <a:gd name="connsiteY28" fmla="*/ 132874 h 466725"/>
              <a:gd name="connsiteX29" fmla="*/ 427482 w 466725"/>
              <a:gd name="connsiteY29" fmla="*/ 44006 h 466725"/>
              <a:gd name="connsiteX30" fmla="*/ 345186 w 466725"/>
              <a:gd name="connsiteY30" fmla="*/ 153162 h 466725"/>
              <a:gd name="connsiteX31" fmla="*/ 318230 w 466725"/>
              <a:gd name="connsiteY31" fmla="*/ 126206 h 466725"/>
              <a:gd name="connsiteX32" fmla="*/ 126302 w 466725"/>
              <a:gd name="connsiteY32" fmla="*/ 318325 h 466725"/>
              <a:gd name="connsiteX33" fmla="*/ 153257 w 466725"/>
              <a:gd name="connsiteY33" fmla="*/ 345281 h 466725"/>
              <a:gd name="connsiteX34" fmla="*/ 345186 w 466725"/>
              <a:gd name="connsiteY34" fmla="*/ 153162 h 4667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466725" h="466725">
                <a:moveTo>
                  <a:pt x="270320" y="325184"/>
                </a:moveTo>
                <a:lnTo>
                  <a:pt x="297275" y="352139"/>
                </a:lnTo>
                <a:lnTo>
                  <a:pt x="221837" y="427577"/>
                </a:lnTo>
                <a:cubicBezTo>
                  <a:pt x="198025" y="451295"/>
                  <a:pt x="166497" y="464344"/>
                  <a:pt x="132874" y="464344"/>
                </a:cubicBezTo>
                <a:cubicBezTo>
                  <a:pt x="99251" y="464344"/>
                  <a:pt x="67723" y="451295"/>
                  <a:pt x="44006" y="427482"/>
                </a:cubicBezTo>
                <a:cubicBezTo>
                  <a:pt x="20193" y="403765"/>
                  <a:pt x="7144" y="372237"/>
                  <a:pt x="7144" y="338614"/>
                </a:cubicBezTo>
                <a:cubicBezTo>
                  <a:pt x="7144" y="304991"/>
                  <a:pt x="20193" y="273463"/>
                  <a:pt x="44006" y="249746"/>
                </a:cubicBezTo>
                <a:lnTo>
                  <a:pt x="119444" y="174308"/>
                </a:lnTo>
                <a:lnTo>
                  <a:pt x="146399" y="201263"/>
                </a:lnTo>
                <a:lnTo>
                  <a:pt x="70961" y="276701"/>
                </a:lnTo>
                <a:cubicBezTo>
                  <a:pt x="54388" y="293180"/>
                  <a:pt x="45244" y="315182"/>
                  <a:pt x="45244" y="338614"/>
                </a:cubicBezTo>
                <a:cubicBezTo>
                  <a:pt x="45244" y="362045"/>
                  <a:pt x="54388" y="384048"/>
                  <a:pt x="70866" y="400622"/>
                </a:cubicBezTo>
                <a:cubicBezTo>
                  <a:pt x="87440" y="417100"/>
                  <a:pt x="109442" y="426244"/>
                  <a:pt x="132874" y="426244"/>
                </a:cubicBezTo>
                <a:cubicBezTo>
                  <a:pt x="156305" y="426244"/>
                  <a:pt x="178308" y="417100"/>
                  <a:pt x="194881" y="400622"/>
                </a:cubicBezTo>
                <a:lnTo>
                  <a:pt x="270320" y="325184"/>
                </a:lnTo>
                <a:close/>
                <a:moveTo>
                  <a:pt x="427482" y="44006"/>
                </a:moveTo>
                <a:cubicBezTo>
                  <a:pt x="403765" y="20193"/>
                  <a:pt x="372237" y="7144"/>
                  <a:pt x="338614" y="7144"/>
                </a:cubicBezTo>
                <a:cubicBezTo>
                  <a:pt x="304991" y="7144"/>
                  <a:pt x="273463" y="20193"/>
                  <a:pt x="249746" y="44006"/>
                </a:cubicBezTo>
                <a:lnTo>
                  <a:pt x="174308" y="119444"/>
                </a:lnTo>
                <a:lnTo>
                  <a:pt x="201263" y="146399"/>
                </a:lnTo>
                <a:lnTo>
                  <a:pt x="276701" y="70961"/>
                </a:lnTo>
                <a:cubicBezTo>
                  <a:pt x="293180" y="54388"/>
                  <a:pt x="315182" y="45244"/>
                  <a:pt x="338614" y="45244"/>
                </a:cubicBezTo>
                <a:cubicBezTo>
                  <a:pt x="362045" y="45244"/>
                  <a:pt x="384048" y="54388"/>
                  <a:pt x="400622" y="70866"/>
                </a:cubicBezTo>
                <a:cubicBezTo>
                  <a:pt x="417100" y="87440"/>
                  <a:pt x="426244" y="109442"/>
                  <a:pt x="426244" y="132874"/>
                </a:cubicBezTo>
                <a:cubicBezTo>
                  <a:pt x="426244" y="156305"/>
                  <a:pt x="417100" y="178308"/>
                  <a:pt x="400622" y="194881"/>
                </a:cubicBezTo>
                <a:lnTo>
                  <a:pt x="325184" y="270320"/>
                </a:lnTo>
                <a:lnTo>
                  <a:pt x="352139" y="297275"/>
                </a:lnTo>
                <a:lnTo>
                  <a:pt x="427577" y="221837"/>
                </a:lnTo>
                <a:cubicBezTo>
                  <a:pt x="451295" y="198025"/>
                  <a:pt x="464344" y="166497"/>
                  <a:pt x="464344" y="132874"/>
                </a:cubicBezTo>
                <a:cubicBezTo>
                  <a:pt x="464344" y="99251"/>
                  <a:pt x="451295" y="67723"/>
                  <a:pt x="427482" y="44006"/>
                </a:cubicBezTo>
                <a:close/>
                <a:moveTo>
                  <a:pt x="345186" y="153162"/>
                </a:moveTo>
                <a:lnTo>
                  <a:pt x="318230" y="126206"/>
                </a:lnTo>
                <a:lnTo>
                  <a:pt x="126302" y="318325"/>
                </a:lnTo>
                <a:lnTo>
                  <a:pt x="153257" y="345281"/>
                </a:lnTo>
                <a:lnTo>
                  <a:pt x="345186" y="153162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BA0E0E3-5630-4C18-AF65-95A0D1787754}"/>
              </a:ext>
            </a:extLst>
          </p:cNvPr>
          <p:cNvSpPr>
            <a:spLocks noChangeAspect="1"/>
          </p:cNvSpPr>
          <p:nvPr/>
        </p:nvSpPr>
        <p:spPr bwMode="gray">
          <a:xfrm>
            <a:off x="1273123" y="4689691"/>
            <a:ext cx="504825" cy="352425"/>
          </a:xfrm>
          <a:custGeom>
            <a:avLst/>
            <a:gdLst>
              <a:gd name="connsiteX0" fmla="*/ 62389 w 504825"/>
              <a:gd name="connsiteY0" fmla="*/ 180499 h 352425"/>
              <a:gd name="connsiteX1" fmla="*/ 216980 w 504825"/>
              <a:gd name="connsiteY1" fmla="*/ 180499 h 352425"/>
              <a:gd name="connsiteX2" fmla="*/ 216980 w 504825"/>
              <a:gd name="connsiteY2" fmla="*/ 218599 h 352425"/>
              <a:gd name="connsiteX3" fmla="*/ 140780 w 504825"/>
              <a:gd name="connsiteY3" fmla="*/ 218599 h 352425"/>
              <a:gd name="connsiteX4" fmla="*/ 140780 w 504825"/>
              <a:gd name="connsiteY4" fmla="*/ 313849 h 352425"/>
              <a:gd name="connsiteX5" fmla="*/ 197930 w 504825"/>
              <a:gd name="connsiteY5" fmla="*/ 313849 h 352425"/>
              <a:gd name="connsiteX6" fmla="*/ 197930 w 504825"/>
              <a:gd name="connsiteY6" fmla="*/ 351949 h 352425"/>
              <a:gd name="connsiteX7" fmla="*/ 45530 w 504825"/>
              <a:gd name="connsiteY7" fmla="*/ 351949 h 352425"/>
              <a:gd name="connsiteX8" fmla="*/ 45530 w 504825"/>
              <a:gd name="connsiteY8" fmla="*/ 313849 h 352425"/>
              <a:gd name="connsiteX9" fmla="*/ 102680 w 504825"/>
              <a:gd name="connsiteY9" fmla="*/ 313849 h 352425"/>
              <a:gd name="connsiteX10" fmla="*/ 102680 w 504825"/>
              <a:gd name="connsiteY10" fmla="*/ 218599 h 352425"/>
              <a:gd name="connsiteX11" fmla="*/ 28289 w 504825"/>
              <a:gd name="connsiteY11" fmla="*/ 218599 h 352425"/>
              <a:gd name="connsiteX12" fmla="*/ 26194 w 504825"/>
              <a:gd name="connsiteY12" fmla="*/ 201454 h 352425"/>
              <a:gd name="connsiteX13" fmla="*/ 7144 w 504825"/>
              <a:gd name="connsiteY13" fmla="*/ 10954 h 352425"/>
              <a:gd name="connsiteX14" fmla="*/ 45053 w 504825"/>
              <a:gd name="connsiteY14" fmla="*/ 7144 h 352425"/>
              <a:gd name="connsiteX15" fmla="*/ 62389 w 504825"/>
              <a:gd name="connsiteY15" fmla="*/ 180499 h 352425"/>
              <a:gd name="connsiteX16" fmla="*/ 369380 w 504825"/>
              <a:gd name="connsiteY16" fmla="*/ 94774 h 352425"/>
              <a:gd name="connsiteX17" fmla="*/ 140780 w 504825"/>
              <a:gd name="connsiteY17" fmla="*/ 94774 h 352425"/>
              <a:gd name="connsiteX18" fmla="*/ 140780 w 504825"/>
              <a:gd name="connsiteY18" fmla="*/ 132874 h 352425"/>
              <a:gd name="connsiteX19" fmla="*/ 369380 w 504825"/>
              <a:gd name="connsiteY19" fmla="*/ 132874 h 352425"/>
              <a:gd name="connsiteX20" fmla="*/ 369380 w 504825"/>
              <a:gd name="connsiteY20" fmla="*/ 94774 h 352425"/>
              <a:gd name="connsiteX21" fmla="*/ 482346 w 504825"/>
              <a:gd name="connsiteY21" fmla="*/ 218599 h 352425"/>
              <a:gd name="connsiteX22" fmla="*/ 503111 w 504825"/>
              <a:gd name="connsiteY22" fmla="*/ 10954 h 352425"/>
              <a:gd name="connsiteX23" fmla="*/ 465201 w 504825"/>
              <a:gd name="connsiteY23" fmla="*/ 7144 h 352425"/>
              <a:gd name="connsiteX24" fmla="*/ 447866 w 504825"/>
              <a:gd name="connsiteY24" fmla="*/ 180499 h 352425"/>
              <a:gd name="connsiteX25" fmla="*/ 293180 w 504825"/>
              <a:gd name="connsiteY25" fmla="*/ 180499 h 352425"/>
              <a:gd name="connsiteX26" fmla="*/ 293180 w 504825"/>
              <a:gd name="connsiteY26" fmla="*/ 218599 h 352425"/>
              <a:gd name="connsiteX27" fmla="*/ 369380 w 504825"/>
              <a:gd name="connsiteY27" fmla="*/ 218599 h 352425"/>
              <a:gd name="connsiteX28" fmla="*/ 369380 w 504825"/>
              <a:gd name="connsiteY28" fmla="*/ 313849 h 352425"/>
              <a:gd name="connsiteX29" fmla="*/ 312230 w 504825"/>
              <a:gd name="connsiteY29" fmla="*/ 313849 h 352425"/>
              <a:gd name="connsiteX30" fmla="*/ 312230 w 504825"/>
              <a:gd name="connsiteY30" fmla="*/ 351949 h 352425"/>
              <a:gd name="connsiteX31" fmla="*/ 464630 w 504825"/>
              <a:gd name="connsiteY31" fmla="*/ 351949 h 352425"/>
              <a:gd name="connsiteX32" fmla="*/ 464630 w 504825"/>
              <a:gd name="connsiteY32" fmla="*/ 313849 h 352425"/>
              <a:gd name="connsiteX33" fmla="*/ 407480 w 504825"/>
              <a:gd name="connsiteY33" fmla="*/ 313849 h 352425"/>
              <a:gd name="connsiteX34" fmla="*/ 407480 w 504825"/>
              <a:gd name="connsiteY34" fmla="*/ 218599 h 352425"/>
              <a:gd name="connsiteX35" fmla="*/ 482346 w 504825"/>
              <a:gd name="connsiteY35" fmla="*/ 218599 h 352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04825" h="352425">
                <a:moveTo>
                  <a:pt x="62389" y="180499"/>
                </a:moveTo>
                <a:lnTo>
                  <a:pt x="216980" y="180499"/>
                </a:lnTo>
                <a:lnTo>
                  <a:pt x="216980" y="218599"/>
                </a:lnTo>
                <a:lnTo>
                  <a:pt x="140780" y="218599"/>
                </a:lnTo>
                <a:lnTo>
                  <a:pt x="140780" y="313849"/>
                </a:lnTo>
                <a:lnTo>
                  <a:pt x="197930" y="313849"/>
                </a:lnTo>
                <a:lnTo>
                  <a:pt x="197930" y="351949"/>
                </a:lnTo>
                <a:lnTo>
                  <a:pt x="45530" y="351949"/>
                </a:lnTo>
                <a:lnTo>
                  <a:pt x="45530" y="313849"/>
                </a:lnTo>
                <a:lnTo>
                  <a:pt x="102680" y="313849"/>
                </a:lnTo>
                <a:lnTo>
                  <a:pt x="102680" y="218599"/>
                </a:lnTo>
                <a:lnTo>
                  <a:pt x="28289" y="218599"/>
                </a:lnTo>
                <a:lnTo>
                  <a:pt x="26194" y="201454"/>
                </a:lnTo>
                <a:lnTo>
                  <a:pt x="7144" y="10954"/>
                </a:lnTo>
                <a:lnTo>
                  <a:pt x="45053" y="7144"/>
                </a:lnTo>
                <a:lnTo>
                  <a:pt x="62389" y="180499"/>
                </a:lnTo>
                <a:close/>
                <a:moveTo>
                  <a:pt x="369380" y="94774"/>
                </a:moveTo>
                <a:lnTo>
                  <a:pt x="140780" y="94774"/>
                </a:lnTo>
                <a:lnTo>
                  <a:pt x="140780" y="132874"/>
                </a:lnTo>
                <a:lnTo>
                  <a:pt x="369380" y="132874"/>
                </a:lnTo>
                <a:lnTo>
                  <a:pt x="369380" y="94774"/>
                </a:lnTo>
                <a:close/>
                <a:moveTo>
                  <a:pt x="482346" y="218599"/>
                </a:moveTo>
                <a:lnTo>
                  <a:pt x="503111" y="10954"/>
                </a:lnTo>
                <a:lnTo>
                  <a:pt x="465201" y="7144"/>
                </a:lnTo>
                <a:lnTo>
                  <a:pt x="447866" y="180499"/>
                </a:lnTo>
                <a:lnTo>
                  <a:pt x="293180" y="180499"/>
                </a:lnTo>
                <a:lnTo>
                  <a:pt x="293180" y="218599"/>
                </a:lnTo>
                <a:lnTo>
                  <a:pt x="369380" y="218599"/>
                </a:lnTo>
                <a:lnTo>
                  <a:pt x="369380" y="313849"/>
                </a:lnTo>
                <a:lnTo>
                  <a:pt x="312230" y="313849"/>
                </a:lnTo>
                <a:lnTo>
                  <a:pt x="312230" y="351949"/>
                </a:lnTo>
                <a:lnTo>
                  <a:pt x="464630" y="351949"/>
                </a:lnTo>
                <a:lnTo>
                  <a:pt x="464630" y="313849"/>
                </a:lnTo>
                <a:lnTo>
                  <a:pt x="407480" y="313849"/>
                </a:lnTo>
                <a:lnTo>
                  <a:pt x="407480" y="218599"/>
                </a:lnTo>
                <a:lnTo>
                  <a:pt x="482346" y="218599"/>
                </a:lnTo>
                <a:close/>
              </a:path>
            </a:pathLst>
          </a:custGeom>
          <a:solidFill>
            <a:srgbClr val="FFFFFF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30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A14744-33D2-44E2-9BBE-D01DAA1EB8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orkstream Focus Areas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08F575-E75F-4B10-A7C9-13F03595BB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6F164F-0D98-4CC2-A713-3D2F873A52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DRAFT FOR POLICY AND PROGRAM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3B838E-D52A-4FF2-8CBC-890B436E9F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5</a:t>
            </a:fld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2CC1FE2F-5C74-4095-953C-5C1C07E15946}"/>
              </a:ext>
            </a:extLst>
          </p:cNvPr>
          <p:cNvSpPr/>
          <p:nvPr/>
        </p:nvSpPr>
        <p:spPr bwMode="gray">
          <a:xfrm>
            <a:off x="456406" y="1593397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F5668F76-8754-460D-89AE-84D2B314E3DB}"/>
              </a:ext>
            </a:extLst>
          </p:cNvPr>
          <p:cNvSpPr/>
          <p:nvPr/>
        </p:nvSpPr>
        <p:spPr bwMode="gray">
          <a:xfrm>
            <a:off x="456406" y="4022724"/>
            <a:ext cx="5499101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208A3595-D31A-4C42-8807-29C2C2FD9D10}"/>
              </a:ext>
            </a:extLst>
          </p:cNvPr>
          <p:cNvSpPr/>
          <p:nvPr/>
        </p:nvSpPr>
        <p:spPr bwMode="gray">
          <a:xfrm>
            <a:off x="6233318" y="1593397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2A2DC0E-04C6-489B-9584-F3D26D500FA4}"/>
              </a:ext>
            </a:extLst>
          </p:cNvPr>
          <p:cNvSpPr/>
          <p:nvPr/>
        </p:nvSpPr>
        <p:spPr bwMode="gray">
          <a:xfrm>
            <a:off x="6233318" y="4022724"/>
            <a:ext cx="5499099" cy="22156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F12E97CD-5E40-4BCC-A631-C655652868CE}"/>
              </a:ext>
            </a:extLst>
          </p:cNvPr>
          <p:cNvSpPr/>
          <p:nvPr/>
        </p:nvSpPr>
        <p:spPr bwMode="gray">
          <a:xfrm>
            <a:off x="652008" y="1739799"/>
            <a:ext cx="4690963" cy="200307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Sheriffs and DOC</a:t>
            </a:r>
            <a:endParaRPr lang="en-US" sz="1600" dirty="0">
              <a:solidFill>
                <a:srgbClr val="1F497D"/>
              </a:solidFill>
              <a:latin typeface="Gill Sans MT" panose="020B0502020104020203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DOC SOP training complete and data collections per new SOP has started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Sheriffs strategic communication sessions complete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OMS upgrade on track for delivery this quarter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: Sheriffs SOP and OMS upgrade training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2543A14-FBB2-463A-85E0-AB3162620C5B}"/>
              </a:ext>
            </a:extLst>
          </p:cNvPr>
          <p:cNvSpPr/>
          <p:nvPr/>
        </p:nvSpPr>
        <p:spPr bwMode="gray">
          <a:xfrm>
            <a:off x="652008" y="4196238"/>
            <a:ext cx="4690963" cy="189574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Trial Court/Probation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Probation leadership added to the ESC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nducting workshops to understand digital court case flow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Current state analysi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F36391-FC8C-4253-AD5F-C2609DCEBC67}"/>
              </a:ext>
            </a:extLst>
          </p:cNvPr>
          <p:cNvSpPr/>
          <p:nvPr/>
        </p:nvSpPr>
        <p:spPr bwMode="gray">
          <a:xfrm>
            <a:off x="6900843" y="1739800"/>
            <a:ext cx="4831575" cy="200307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Law Enforce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mpleted a review of PD booking procedure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mpleted a draft booking SOP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 Assessment, final SOP and training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endParaRPr lang="en-US" sz="1600" dirty="0">
              <a:solidFill>
                <a:srgbClr val="000000"/>
              </a:solidFill>
              <a:latin typeface="Gill Sans MT" panose="020B0502020104020203" pitchFamily="34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2472DD-3DB4-43CE-918C-9B6C9BCBD3FF}"/>
              </a:ext>
            </a:extLst>
          </p:cNvPr>
          <p:cNvSpPr/>
          <p:nvPr/>
        </p:nvSpPr>
        <p:spPr bwMode="gray">
          <a:xfrm>
            <a:off x="6900843" y="4196238"/>
            <a:ext cx="4687961" cy="185370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</a:pPr>
            <a:r>
              <a:rPr lang="en-US" sz="1600" b="1" kern="0" dirty="0">
                <a:solidFill>
                  <a:srgbClr val="1F497D"/>
                </a:solidFill>
                <a:latin typeface="Gill Sans MT" panose="020B0502020104020203" pitchFamily="34" charset="0"/>
                <a:cs typeface="Arial" charset="0"/>
              </a:rPr>
              <a:t>Data Analytics Platform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mpleted </a:t>
            </a:r>
            <a:r>
              <a:rPr lang="en-US" sz="1600">
                <a:solidFill>
                  <a:srgbClr val="000000"/>
                </a:solidFill>
                <a:latin typeface="Gill Sans MT" panose="020B0502020104020203" pitchFamily="34" charset="0"/>
              </a:rPr>
              <a:t>use cases</a:t>
            </a:r>
            <a:endParaRPr lang="en-US" sz="1600" dirty="0">
              <a:solidFill>
                <a:srgbClr val="000000"/>
              </a:solidFill>
              <a:latin typeface="Gill Sans MT" panose="020B0502020104020203" pitchFamily="34" charset="0"/>
            </a:endParaRP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Completed a draft Data User License Agreement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Finalizing vendor contracting actions</a:t>
            </a:r>
          </a:p>
          <a:p>
            <a:pPr marL="171450" indent="-171450">
              <a:spcAft>
                <a:spcPts val="600"/>
              </a:spcAft>
              <a:buClr>
                <a:schemeClr val="tx2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Gill Sans MT" panose="020B0502020104020203" pitchFamily="34" charset="0"/>
              </a:rPr>
              <a:t>Next steps: On board vendor and begin platform development</a:t>
            </a:r>
          </a:p>
        </p:txBody>
      </p:sp>
      <p:pic>
        <p:nvPicPr>
          <p:cNvPr id="45" name="Graphic 44">
            <a:extLst>
              <a:ext uri="{FF2B5EF4-FFF2-40B4-BE49-F238E27FC236}">
                <a16:creationId xmlns:a16="http://schemas.microsoft.com/office/drawing/2014/main" id="{BC160389-AF18-4C3B-9A7E-E609C770DC6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gray">
          <a:xfrm>
            <a:off x="5387811" y="1739799"/>
            <a:ext cx="423863" cy="358653"/>
          </a:xfrm>
          <a:prstGeom prst="rect">
            <a:avLst/>
          </a:prstGeom>
        </p:spPr>
      </p:pic>
      <p:grpSp>
        <p:nvGrpSpPr>
          <p:cNvPr id="46" name="Group 45">
            <a:extLst>
              <a:ext uri="{FF2B5EF4-FFF2-40B4-BE49-F238E27FC236}">
                <a16:creationId xmlns:a16="http://schemas.microsoft.com/office/drawing/2014/main" id="{8EAEE51C-B34F-4857-8A98-7939898BC31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6281330" y="5666950"/>
            <a:ext cx="571500" cy="381000"/>
            <a:chOff x="9110669" y="1367915"/>
            <a:chExt cx="571500" cy="381000"/>
          </a:xfrm>
          <a:solidFill>
            <a:srgbClr val="1F497D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D0B992D-E31C-4737-87E6-75D30D80AE49}"/>
                </a:ext>
              </a:extLst>
            </p:cNvPr>
            <p:cNvSpPr/>
            <p:nvPr/>
          </p:nvSpPr>
          <p:spPr bwMode="gray">
            <a:xfrm>
              <a:off x="927259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6E245BC-5382-47FD-B3EA-85B0A8D2BBD0}"/>
                </a:ext>
              </a:extLst>
            </p:cNvPr>
            <p:cNvSpPr/>
            <p:nvPr/>
          </p:nvSpPr>
          <p:spPr bwMode="gray">
            <a:xfrm>
              <a:off x="9339269" y="1481167"/>
              <a:ext cx="38100" cy="133350"/>
            </a:xfrm>
            <a:custGeom>
              <a:avLst/>
              <a:gdLst>
                <a:gd name="connsiteX0" fmla="*/ 0 w 38100"/>
                <a:gd name="connsiteY0" fmla="*/ 0 h 133350"/>
                <a:gd name="connsiteX1" fmla="*/ 38100 w 38100"/>
                <a:gd name="connsiteY1" fmla="*/ 0 h 133350"/>
                <a:gd name="connsiteX2" fmla="*/ 38100 w 38100"/>
                <a:gd name="connsiteY2" fmla="*/ 134398 h 133350"/>
                <a:gd name="connsiteX3" fmla="*/ 0 w 38100"/>
                <a:gd name="connsiteY3" fmla="*/ 134398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33350">
                  <a:moveTo>
                    <a:pt x="0" y="0"/>
                  </a:moveTo>
                  <a:lnTo>
                    <a:pt x="38100" y="0"/>
                  </a:lnTo>
                  <a:lnTo>
                    <a:pt x="38100" y="134398"/>
                  </a:lnTo>
                  <a:lnTo>
                    <a:pt x="0" y="13439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5BD7BE9D-6555-4DD2-A827-D4D8A44FB33C}"/>
                </a:ext>
              </a:extLst>
            </p:cNvPr>
            <p:cNvSpPr/>
            <p:nvPr/>
          </p:nvSpPr>
          <p:spPr bwMode="gray">
            <a:xfrm>
              <a:off x="9405944" y="1518219"/>
              <a:ext cx="38100" cy="95250"/>
            </a:xfrm>
            <a:custGeom>
              <a:avLst/>
              <a:gdLst>
                <a:gd name="connsiteX0" fmla="*/ 0 w 38100"/>
                <a:gd name="connsiteY0" fmla="*/ 0 h 95250"/>
                <a:gd name="connsiteX1" fmla="*/ 38100 w 38100"/>
                <a:gd name="connsiteY1" fmla="*/ 0 h 95250"/>
                <a:gd name="connsiteX2" fmla="*/ 38100 w 38100"/>
                <a:gd name="connsiteY2" fmla="*/ 97345 h 95250"/>
                <a:gd name="connsiteX3" fmla="*/ 0 w 38100"/>
                <a:gd name="connsiteY3" fmla="*/ 97345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95250">
                  <a:moveTo>
                    <a:pt x="0" y="0"/>
                  </a:moveTo>
                  <a:lnTo>
                    <a:pt x="38100" y="0"/>
                  </a:lnTo>
                  <a:lnTo>
                    <a:pt x="38100" y="97345"/>
                  </a:lnTo>
                  <a:lnTo>
                    <a:pt x="0" y="9734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4790585-8106-4826-9719-5A1FE31895D9}"/>
                </a:ext>
              </a:extLst>
            </p:cNvPr>
            <p:cNvSpPr/>
            <p:nvPr/>
          </p:nvSpPr>
          <p:spPr bwMode="gray">
            <a:xfrm>
              <a:off x="9472619" y="1444115"/>
              <a:ext cx="38100" cy="171450"/>
            </a:xfrm>
            <a:custGeom>
              <a:avLst/>
              <a:gdLst>
                <a:gd name="connsiteX0" fmla="*/ 0 w 38100"/>
                <a:gd name="connsiteY0" fmla="*/ 0 h 171450"/>
                <a:gd name="connsiteX1" fmla="*/ 38100 w 38100"/>
                <a:gd name="connsiteY1" fmla="*/ 0 h 171450"/>
                <a:gd name="connsiteX2" fmla="*/ 38100 w 38100"/>
                <a:gd name="connsiteY2" fmla="*/ 171450 h 171450"/>
                <a:gd name="connsiteX3" fmla="*/ 0 w 38100"/>
                <a:gd name="connsiteY3" fmla="*/ 171450 h 171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8100" h="171450">
                  <a:moveTo>
                    <a:pt x="0" y="0"/>
                  </a:moveTo>
                  <a:lnTo>
                    <a:pt x="38100" y="0"/>
                  </a:lnTo>
                  <a:lnTo>
                    <a:pt x="38100" y="171450"/>
                  </a:lnTo>
                  <a:lnTo>
                    <a:pt x="0" y="17145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D8920DE6-91D5-4FE5-98F3-50847ACC0B2C}"/>
                </a:ext>
              </a:extLst>
            </p:cNvPr>
            <p:cNvSpPr/>
            <p:nvPr/>
          </p:nvSpPr>
          <p:spPr bwMode="gray">
            <a:xfrm>
              <a:off x="9110669" y="1710815"/>
              <a:ext cx="571500" cy="38100"/>
            </a:xfrm>
            <a:custGeom>
              <a:avLst/>
              <a:gdLst>
                <a:gd name="connsiteX0" fmla="*/ 0 w 571500"/>
                <a:gd name="connsiteY0" fmla="*/ 0 h 38100"/>
                <a:gd name="connsiteX1" fmla="*/ 571500 w 571500"/>
                <a:gd name="connsiteY1" fmla="*/ 0 h 38100"/>
                <a:gd name="connsiteX2" fmla="*/ 571500 w 571500"/>
                <a:gd name="connsiteY2" fmla="*/ 38100 h 38100"/>
                <a:gd name="connsiteX3" fmla="*/ 0 w 571500"/>
                <a:gd name="connsiteY3" fmla="*/ 38100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38100">
                  <a:moveTo>
                    <a:pt x="0" y="0"/>
                  </a:moveTo>
                  <a:lnTo>
                    <a:pt x="571500" y="0"/>
                  </a:lnTo>
                  <a:lnTo>
                    <a:pt x="571500" y="38100"/>
                  </a:lnTo>
                  <a:lnTo>
                    <a:pt x="0" y="381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6E091E74-226A-491F-B3FD-9630B0D1C0CE}"/>
                </a:ext>
              </a:extLst>
            </p:cNvPr>
            <p:cNvSpPr/>
            <p:nvPr/>
          </p:nvSpPr>
          <p:spPr bwMode="gray">
            <a:xfrm>
              <a:off x="9186869" y="1367915"/>
              <a:ext cx="419100" cy="304800"/>
            </a:xfrm>
            <a:custGeom>
              <a:avLst/>
              <a:gdLst>
                <a:gd name="connsiteX0" fmla="*/ 419100 w 419100"/>
                <a:gd name="connsiteY0" fmla="*/ 0 h 304800"/>
                <a:gd name="connsiteX1" fmla="*/ 0 w 419100"/>
                <a:gd name="connsiteY1" fmla="*/ 0 h 304800"/>
                <a:gd name="connsiteX2" fmla="*/ 0 w 419100"/>
                <a:gd name="connsiteY2" fmla="*/ 304800 h 304800"/>
                <a:gd name="connsiteX3" fmla="*/ 419100 w 419100"/>
                <a:gd name="connsiteY3" fmla="*/ 304800 h 304800"/>
                <a:gd name="connsiteX4" fmla="*/ 419100 w 419100"/>
                <a:gd name="connsiteY4" fmla="*/ 0 h 304800"/>
                <a:gd name="connsiteX5" fmla="*/ 381000 w 419100"/>
                <a:gd name="connsiteY5" fmla="*/ 266700 h 304800"/>
                <a:gd name="connsiteX6" fmla="*/ 38100 w 419100"/>
                <a:gd name="connsiteY6" fmla="*/ 266700 h 304800"/>
                <a:gd name="connsiteX7" fmla="*/ 38100 w 419100"/>
                <a:gd name="connsiteY7" fmla="*/ 38100 h 304800"/>
                <a:gd name="connsiteX8" fmla="*/ 381000 w 419100"/>
                <a:gd name="connsiteY8" fmla="*/ 38100 h 304800"/>
                <a:gd name="connsiteX9" fmla="*/ 381000 w 419100"/>
                <a:gd name="connsiteY9" fmla="*/ 266700 h 30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9100" h="304800">
                  <a:moveTo>
                    <a:pt x="419100" y="0"/>
                  </a:moveTo>
                  <a:lnTo>
                    <a:pt x="0" y="0"/>
                  </a:lnTo>
                  <a:lnTo>
                    <a:pt x="0" y="304800"/>
                  </a:lnTo>
                  <a:lnTo>
                    <a:pt x="419100" y="304800"/>
                  </a:lnTo>
                  <a:lnTo>
                    <a:pt x="419100" y="0"/>
                  </a:lnTo>
                  <a:close/>
                  <a:moveTo>
                    <a:pt x="381000" y="266700"/>
                  </a:moveTo>
                  <a:lnTo>
                    <a:pt x="38100" y="266700"/>
                  </a:lnTo>
                  <a:lnTo>
                    <a:pt x="38100" y="38100"/>
                  </a:lnTo>
                  <a:lnTo>
                    <a:pt x="381000" y="38100"/>
                  </a:lnTo>
                  <a:lnTo>
                    <a:pt x="381000" y="26670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dirty="0"/>
            </a:p>
          </p:txBody>
        </p:sp>
      </p:grpSp>
      <p:sp>
        <p:nvSpPr>
          <p:cNvPr id="53" name="Graphic 124">
            <a:extLst>
              <a:ext uri="{FF2B5EF4-FFF2-40B4-BE49-F238E27FC236}">
                <a16:creationId xmlns:a16="http://schemas.microsoft.com/office/drawing/2014/main" id="{5A86D22D-DA6C-4C07-9F84-3245AA2E8C43}"/>
              </a:ext>
            </a:extLst>
          </p:cNvPr>
          <p:cNvSpPr>
            <a:spLocks noChangeAspect="1"/>
          </p:cNvSpPr>
          <p:nvPr/>
        </p:nvSpPr>
        <p:spPr bwMode="gray">
          <a:xfrm>
            <a:off x="6290855" y="1690525"/>
            <a:ext cx="438150" cy="457200"/>
          </a:xfrm>
          <a:custGeom>
            <a:avLst/>
            <a:gdLst>
              <a:gd name="connsiteX0" fmla="*/ 366760 w 438150"/>
              <a:gd name="connsiteY0" fmla="*/ 227562 h 457200"/>
              <a:gd name="connsiteX1" fmla="*/ 264576 w 438150"/>
              <a:gd name="connsiteY1" fmla="*/ 114300 h 457200"/>
              <a:gd name="connsiteX2" fmla="*/ 181451 w 438150"/>
              <a:gd name="connsiteY2" fmla="*/ 114300 h 457200"/>
              <a:gd name="connsiteX3" fmla="*/ 79277 w 438150"/>
              <a:gd name="connsiteY3" fmla="*/ 227562 h 457200"/>
              <a:gd name="connsiteX4" fmla="*/ 79277 w 438150"/>
              <a:gd name="connsiteY4" fmla="*/ 335966 h 457200"/>
              <a:gd name="connsiteX5" fmla="*/ 51568 w 438150"/>
              <a:gd name="connsiteY5" fmla="*/ 335966 h 457200"/>
              <a:gd name="connsiteX6" fmla="*/ 51568 w 438150"/>
              <a:gd name="connsiteY6" fmla="*/ 457200 h 457200"/>
              <a:gd name="connsiteX7" fmla="*/ 394468 w 438150"/>
              <a:gd name="connsiteY7" fmla="*/ 457200 h 457200"/>
              <a:gd name="connsiteX8" fmla="*/ 394468 w 438150"/>
              <a:gd name="connsiteY8" fmla="*/ 335966 h 457200"/>
              <a:gd name="connsiteX9" fmla="*/ 366760 w 438150"/>
              <a:gd name="connsiteY9" fmla="*/ 335966 h 457200"/>
              <a:gd name="connsiteX10" fmla="*/ 366760 w 438150"/>
              <a:gd name="connsiteY10" fmla="*/ 227562 h 457200"/>
              <a:gd name="connsiteX11" fmla="*/ 117377 w 438150"/>
              <a:gd name="connsiteY11" fmla="*/ 227562 h 457200"/>
              <a:gd name="connsiteX12" fmla="*/ 181451 w 438150"/>
              <a:gd name="connsiteY12" fmla="*/ 152400 h 457200"/>
              <a:gd name="connsiteX13" fmla="*/ 264576 w 438150"/>
              <a:gd name="connsiteY13" fmla="*/ 152400 h 457200"/>
              <a:gd name="connsiteX14" fmla="*/ 328660 w 438150"/>
              <a:gd name="connsiteY14" fmla="*/ 227562 h 457200"/>
              <a:gd name="connsiteX15" fmla="*/ 328660 w 438150"/>
              <a:gd name="connsiteY15" fmla="*/ 335966 h 457200"/>
              <a:gd name="connsiteX16" fmla="*/ 280168 w 438150"/>
              <a:gd name="connsiteY16" fmla="*/ 335966 h 457200"/>
              <a:gd name="connsiteX17" fmla="*/ 280168 w 438150"/>
              <a:gd name="connsiteY17" fmla="*/ 295275 h 457200"/>
              <a:gd name="connsiteX18" fmla="*/ 223018 w 438150"/>
              <a:gd name="connsiteY18" fmla="*/ 238125 h 457200"/>
              <a:gd name="connsiteX19" fmla="*/ 165868 w 438150"/>
              <a:gd name="connsiteY19" fmla="*/ 295275 h 457200"/>
              <a:gd name="connsiteX20" fmla="*/ 165868 w 438150"/>
              <a:gd name="connsiteY20" fmla="*/ 335966 h 457200"/>
              <a:gd name="connsiteX21" fmla="*/ 117377 w 438150"/>
              <a:gd name="connsiteY21" fmla="*/ 335966 h 457200"/>
              <a:gd name="connsiteX22" fmla="*/ 117377 w 438150"/>
              <a:gd name="connsiteY22" fmla="*/ 227562 h 457200"/>
              <a:gd name="connsiteX23" fmla="*/ 242068 w 438150"/>
              <a:gd name="connsiteY23" fmla="*/ 335966 h 457200"/>
              <a:gd name="connsiteX24" fmla="*/ 203968 w 438150"/>
              <a:gd name="connsiteY24" fmla="*/ 335966 h 457200"/>
              <a:gd name="connsiteX25" fmla="*/ 203968 w 438150"/>
              <a:gd name="connsiteY25" fmla="*/ 295275 h 457200"/>
              <a:gd name="connsiteX26" fmla="*/ 223018 w 438150"/>
              <a:gd name="connsiteY26" fmla="*/ 276225 h 457200"/>
              <a:gd name="connsiteX27" fmla="*/ 242068 w 438150"/>
              <a:gd name="connsiteY27" fmla="*/ 295275 h 457200"/>
              <a:gd name="connsiteX28" fmla="*/ 242068 w 438150"/>
              <a:gd name="connsiteY28" fmla="*/ 335966 h 457200"/>
              <a:gd name="connsiteX29" fmla="*/ 356368 w 438150"/>
              <a:gd name="connsiteY29" fmla="*/ 419100 h 457200"/>
              <a:gd name="connsiteX30" fmla="*/ 89668 w 438150"/>
              <a:gd name="connsiteY30" fmla="*/ 419100 h 457200"/>
              <a:gd name="connsiteX31" fmla="*/ 89668 w 438150"/>
              <a:gd name="connsiteY31" fmla="*/ 374066 h 457200"/>
              <a:gd name="connsiteX32" fmla="*/ 356368 w 438150"/>
              <a:gd name="connsiteY32" fmla="*/ 374066 h 457200"/>
              <a:gd name="connsiteX33" fmla="*/ 356368 w 438150"/>
              <a:gd name="connsiteY33" fmla="*/ 419100 h 457200"/>
              <a:gd name="connsiteX34" fmla="*/ 242068 w 438150"/>
              <a:gd name="connsiteY34" fmla="*/ 76200 h 457200"/>
              <a:gd name="connsiteX35" fmla="*/ 203968 w 438150"/>
              <a:gd name="connsiteY35" fmla="*/ 76200 h 457200"/>
              <a:gd name="connsiteX36" fmla="*/ 203968 w 438150"/>
              <a:gd name="connsiteY36" fmla="*/ 0 h 457200"/>
              <a:gd name="connsiteX37" fmla="*/ 242068 w 438150"/>
              <a:gd name="connsiteY37" fmla="*/ 0 h 457200"/>
              <a:gd name="connsiteX38" fmla="*/ 242068 w 438150"/>
              <a:gd name="connsiteY38" fmla="*/ 76200 h 457200"/>
              <a:gd name="connsiteX39" fmla="*/ 57150 w 438150"/>
              <a:gd name="connsiteY39" fmla="*/ 127768 h 457200"/>
              <a:gd name="connsiteX40" fmla="*/ 0 w 438150"/>
              <a:gd name="connsiteY40" fmla="*/ 70618 h 457200"/>
              <a:gd name="connsiteX41" fmla="*/ 26937 w 438150"/>
              <a:gd name="connsiteY41" fmla="*/ 43682 h 457200"/>
              <a:gd name="connsiteX42" fmla="*/ 84087 w 438150"/>
              <a:gd name="connsiteY42" fmla="*/ 100832 h 457200"/>
              <a:gd name="connsiteX43" fmla="*/ 57150 w 438150"/>
              <a:gd name="connsiteY43" fmla="*/ 127768 h 457200"/>
              <a:gd name="connsiteX44" fmla="*/ 388887 w 438150"/>
              <a:gd name="connsiteY44" fmla="*/ 127768 h 457200"/>
              <a:gd name="connsiteX45" fmla="*/ 361950 w 438150"/>
              <a:gd name="connsiteY45" fmla="*/ 100832 h 457200"/>
              <a:gd name="connsiteX46" fmla="*/ 419100 w 438150"/>
              <a:gd name="connsiteY46" fmla="*/ 43682 h 457200"/>
              <a:gd name="connsiteX47" fmla="*/ 446037 w 438150"/>
              <a:gd name="connsiteY47" fmla="*/ 70618 h 457200"/>
              <a:gd name="connsiteX48" fmla="*/ 388887 w 438150"/>
              <a:gd name="connsiteY48" fmla="*/ 127768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38150" h="457200">
                <a:moveTo>
                  <a:pt x="366760" y="227562"/>
                </a:moveTo>
                <a:cubicBezTo>
                  <a:pt x="366760" y="165106"/>
                  <a:pt x="320916" y="114300"/>
                  <a:pt x="264576" y="114300"/>
                </a:cubicBezTo>
                <a:lnTo>
                  <a:pt x="181451" y="114300"/>
                </a:lnTo>
                <a:cubicBezTo>
                  <a:pt x="125111" y="114300"/>
                  <a:pt x="79277" y="165106"/>
                  <a:pt x="79277" y="227562"/>
                </a:cubicBezTo>
                <a:lnTo>
                  <a:pt x="79277" y="335966"/>
                </a:lnTo>
                <a:lnTo>
                  <a:pt x="51568" y="335966"/>
                </a:lnTo>
                <a:lnTo>
                  <a:pt x="51568" y="457200"/>
                </a:lnTo>
                <a:lnTo>
                  <a:pt x="394468" y="457200"/>
                </a:lnTo>
                <a:lnTo>
                  <a:pt x="394468" y="335966"/>
                </a:lnTo>
                <a:lnTo>
                  <a:pt x="366760" y="335966"/>
                </a:lnTo>
                <a:lnTo>
                  <a:pt x="366760" y="227562"/>
                </a:lnTo>
                <a:close/>
                <a:moveTo>
                  <a:pt x="117377" y="227562"/>
                </a:moveTo>
                <a:cubicBezTo>
                  <a:pt x="117377" y="186119"/>
                  <a:pt x="146123" y="152400"/>
                  <a:pt x="181451" y="152400"/>
                </a:cubicBezTo>
                <a:lnTo>
                  <a:pt x="264576" y="152400"/>
                </a:lnTo>
                <a:cubicBezTo>
                  <a:pt x="299914" y="152400"/>
                  <a:pt x="328660" y="186119"/>
                  <a:pt x="328660" y="227562"/>
                </a:cubicBezTo>
                <a:lnTo>
                  <a:pt x="328660" y="335966"/>
                </a:lnTo>
                <a:lnTo>
                  <a:pt x="280168" y="335966"/>
                </a:lnTo>
                <a:lnTo>
                  <a:pt x="280168" y="295275"/>
                </a:lnTo>
                <a:cubicBezTo>
                  <a:pt x="280168" y="263757"/>
                  <a:pt x="254537" y="238125"/>
                  <a:pt x="223018" y="238125"/>
                </a:cubicBezTo>
                <a:cubicBezTo>
                  <a:pt x="191500" y="238125"/>
                  <a:pt x="165868" y="263757"/>
                  <a:pt x="165868" y="295275"/>
                </a:cubicBezTo>
                <a:lnTo>
                  <a:pt x="165868" y="335966"/>
                </a:lnTo>
                <a:lnTo>
                  <a:pt x="117377" y="335966"/>
                </a:lnTo>
                <a:lnTo>
                  <a:pt x="117377" y="227562"/>
                </a:lnTo>
                <a:close/>
                <a:moveTo>
                  <a:pt x="242068" y="335966"/>
                </a:moveTo>
                <a:lnTo>
                  <a:pt x="203968" y="335966"/>
                </a:lnTo>
                <a:lnTo>
                  <a:pt x="203968" y="295275"/>
                </a:lnTo>
                <a:cubicBezTo>
                  <a:pt x="203968" y="284769"/>
                  <a:pt x="212512" y="276225"/>
                  <a:pt x="223018" y="276225"/>
                </a:cubicBezTo>
                <a:cubicBezTo>
                  <a:pt x="233524" y="276225"/>
                  <a:pt x="242068" y="284769"/>
                  <a:pt x="242068" y="295275"/>
                </a:cubicBezTo>
                <a:lnTo>
                  <a:pt x="242068" y="335966"/>
                </a:lnTo>
                <a:close/>
                <a:moveTo>
                  <a:pt x="356368" y="419100"/>
                </a:moveTo>
                <a:lnTo>
                  <a:pt x="89668" y="419100"/>
                </a:lnTo>
                <a:lnTo>
                  <a:pt x="89668" y="374066"/>
                </a:lnTo>
                <a:lnTo>
                  <a:pt x="356368" y="374066"/>
                </a:lnTo>
                <a:lnTo>
                  <a:pt x="356368" y="419100"/>
                </a:lnTo>
                <a:close/>
                <a:moveTo>
                  <a:pt x="242068" y="76200"/>
                </a:moveTo>
                <a:lnTo>
                  <a:pt x="203968" y="76200"/>
                </a:lnTo>
                <a:lnTo>
                  <a:pt x="203968" y="0"/>
                </a:lnTo>
                <a:lnTo>
                  <a:pt x="242068" y="0"/>
                </a:lnTo>
                <a:lnTo>
                  <a:pt x="242068" y="76200"/>
                </a:lnTo>
                <a:close/>
                <a:moveTo>
                  <a:pt x="57150" y="127768"/>
                </a:moveTo>
                <a:lnTo>
                  <a:pt x="0" y="70618"/>
                </a:lnTo>
                <a:lnTo>
                  <a:pt x="26937" y="43682"/>
                </a:lnTo>
                <a:lnTo>
                  <a:pt x="84087" y="100832"/>
                </a:lnTo>
                <a:lnTo>
                  <a:pt x="57150" y="127768"/>
                </a:lnTo>
                <a:close/>
                <a:moveTo>
                  <a:pt x="388887" y="127768"/>
                </a:moveTo>
                <a:lnTo>
                  <a:pt x="361950" y="100832"/>
                </a:lnTo>
                <a:lnTo>
                  <a:pt x="419100" y="43682"/>
                </a:lnTo>
                <a:lnTo>
                  <a:pt x="446037" y="70618"/>
                </a:lnTo>
                <a:lnTo>
                  <a:pt x="388887" y="127768"/>
                </a:ln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3C8C4B15-3259-4387-A9B2-1D972D250C9F}"/>
              </a:ext>
            </a:extLst>
          </p:cNvPr>
          <p:cNvSpPr>
            <a:spLocks noChangeAspect="1"/>
          </p:cNvSpPr>
          <p:nvPr/>
        </p:nvSpPr>
        <p:spPr bwMode="gray">
          <a:xfrm>
            <a:off x="5242524" y="5590750"/>
            <a:ext cx="619125" cy="476250"/>
          </a:xfrm>
          <a:custGeom>
            <a:avLst/>
            <a:gdLst>
              <a:gd name="connsiteX0" fmla="*/ 502444 w 619125"/>
              <a:gd name="connsiteY0" fmla="*/ 64294 h 476250"/>
              <a:gd name="connsiteX1" fmla="*/ 332232 w 619125"/>
              <a:gd name="connsiteY1" fmla="*/ 64294 h 476250"/>
              <a:gd name="connsiteX2" fmla="*/ 332232 w 619125"/>
              <a:gd name="connsiteY2" fmla="*/ 7144 h 476250"/>
              <a:gd name="connsiteX3" fmla="*/ 294132 w 619125"/>
              <a:gd name="connsiteY3" fmla="*/ 7144 h 476250"/>
              <a:gd name="connsiteX4" fmla="*/ 294132 w 619125"/>
              <a:gd name="connsiteY4" fmla="*/ 64294 h 476250"/>
              <a:gd name="connsiteX5" fmla="*/ 121444 w 619125"/>
              <a:gd name="connsiteY5" fmla="*/ 64294 h 476250"/>
              <a:gd name="connsiteX6" fmla="*/ 7144 w 619125"/>
              <a:gd name="connsiteY6" fmla="*/ 235744 h 476250"/>
              <a:gd name="connsiteX7" fmla="*/ 121444 w 619125"/>
              <a:gd name="connsiteY7" fmla="*/ 350044 h 476250"/>
              <a:gd name="connsiteX8" fmla="*/ 235744 w 619125"/>
              <a:gd name="connsiteY8" fmla="*/ 235744 h 476250"/>
              <a:gd name="connsiteX9" fmla="*/ 146875 w 619125"/>
              <a:gd name="connsiteY9" fmla="*/ 102394 h 476250"/>
              <a:gd name="connsiteX10" fmla="*/ 294227 w 619125"/>
              <a:gd name="connsiteY10" fmla="*/ 102394 h 476250"/>
              <a:gd name="connsiteX11" fmla="*/ 294227 w 619125"/>
              <a:gd name="connsiteY11" fmla="*/ 435769 h 476250"/>
              <a:gd name="connsiteX12" fmla="*/ 121444 w 619125"/>
              <a:gd name="connsiteY12" fmla="*/ 435769 h 476250"/>
              <a:gd name="connsiteX13" fmla="*/ 121444 w 619125"/>
              <a:gd name="connsiteY13" fmla="*/ 473869 h 476250"/>
              <a:gd name="connsiteX14" fmla="*/ 502444 w 619125"/>
              <a:gd name="connsiteY14" fmla="*/ 473869 h 476250"/>
              <a:gd name="connsiteX15" fmla="*/ 502444 w 619125"/>
              <a:gd name="connsiteY15" fmla="*/ 435769 h 476250"/>
              <a:gd name="connsiteX16" fmla="*/ 332232 w 619125"/>
              <a:gd name="connsiteY16" fmla="*/ 435769 h 476250"/>
              <a:gd name="connsiteX17" fmla="*/ 332232 w 619125"/>
              <a:gd name="connsiteY17" fmla="*/ 102394 h 476250"/>
              <a:gd name="connsiteX18" fmla="*/ 477012 w 619125"/>
              <a:gd name="connsiteY18" fmla="*/ 102394 h 476250"/>
              <a:gd name="connsiteX19" fmla="*/ 388144 w 619125"/>
              <a:gd name="connsiteY19" fmla="*/ 235744 h 476250"/>
              <a:gd name="connsiteX20" fmla="*/ 502444 w 619125"/>
              <a:gd name="connsiteY20" fmla="*/ 350044 h 476250"/>
              <a:gd name="connsiteX21" fmla="*/ 616744 w 619125"/>
              <a:gd name="connsiteY21" fmla="*/ 235744 h 476250"/>
              <a:gd name="connsiteX22" fmla="*/ 502444 w 619125"/>
              <a:gd name="connsiteY22" fmla="*/ 64294 h 476250"/>
              <a:gd name="connsiteX23" fmla="*/ 121444 w 619125"/>
              <a:gd name="connsiteY23" fmla="*/ 132969 h 476250"/>
              <a:gd name="connsiteX24" fmla="*/ 189929 w 619125"/>
              <a:gd name="connsiteY24" fmla="*/ 235744 h 476250"/>
              <a:gd name="connsiteX25" fmla="*/ 52959 w 619125"/>
              <a:gd name="connsiteY25" fmla="*/ 235744 h 476250"/>
              <a:gd name="connsiteX26" fmla="*/ 121444 w 619125"/>
              <a:gd name="connsiteY26" fmla="*/ 132969 h 476250"/>
              <a:gd name="connsiteX27" fmla="*/ 121444 w 619125"/>
              <a:gd name="connsiteY27" fmla="*/ 311944 h 476250"/>
              <a:gd name="connsiteX28" fmla="*/ 55531 w 619125"/>
              <a:gd name="connsiteY28" fmla="*/ 273844 h 476250"/>
              <a:gd name="connsiteX29" fmla="*/ 187357 w 619125"/>
              <a:gd name="connsiteY29" fmla="*/ 273844 h 476250"/>
              <a:gd name="connsiteX30" fmla="*/ 121444 w 619125"/>
              <a:gd name="connsiteY30" fmla="*/ 311944 h 476250"/>
              <a:gd name="connsiteX31" fmla="*/ 570929 w 619125"/>
              <a:gd name="connsiteY31" fmla="*/ 235744 h 476250"/>
              <a:gd name="connsiteX32" fmla="*/ 433864 w 619125"/>
              <a:gd name="connsiteY32" fmla="*/ 235744 h 476250"/>
              <a:gd name="connsiteX33" fmla="*/ 502444 w 619125"/>
              <a:gd name="connsiteY33" fmla="*/ 132969 h 476250"/>
              <a:gd name="connsiteX34" fmla="*/ 570929 w 619125"/>
              <a:gd name="connsiteY34" fmla="*/ 235744 h 476250"/>
              <a:gd name="connsiteX35" fmla="*/ 502444 w 619125"/>
              <a:gd name="connsiteY35" fmla="*/ 311944 h 476250"/>
              <a:gd name="connsiteX36" fmla="*/ 436531 w 619125"/>
              <a:gd name="connsiteY36" fmla="*/ 273844 h 476250"/>
              <a:gd name="connsiteX37" fmla="*/ 568357 w 619125"/>
              <a:gd name="connsiteY37" fmla="*/ 273844 h 476250"/>
              <a:gd name="connsiteX38" fmla="*/ 502444 w 619125"/>
              <a:gd name="connsiteY38" fmla="*/ 311944 h 476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</a:cxnLst>
            <a:rect l="l" t="t" r="r" b="b"/>
            <a:pathLst>
              <a:path w="619125" h="476250">
                <a:moveTo>
                  <a:pt x="502444" y="64294"/>
                </a:moveTo>
                <a:lnTo>
                  <a:pt x="332232" y="64294"/>
                </a:lnTo>
                <a:lnTo>
                  <a:pt x="332232" y="7144"/>
                </a:lnTo>
                <a:lnTo>
                  <a:pt x="294132" y="7144"/>
                </a:lnTo>
                <a:lnTo>
                  <a:pt x="294132" y="64294"/>
                </a:lnTo>
                <a:lnTo>
                  <a:pt x="121444" y="64294"/>
                </a:lnTo>
                <a:lnTo>
                  <a:pt x="7144" y="235744"/>
                </a:lnTo>
                <a:cubicBezTo>
                  <a:pt x="7144" y="298895"/>
                  <a:pt x="58293" y="350044"/>
                  <a:pt x="121444" y="350044"/>
                </a:cubicBezTo>
                <a:cubicBezTo>
                  <a:pt x="184594" y="350044"/>
                  <a:pt x="235744" y="298895"/>
                  <a:pt x="235744" y="235744"/>
                </a:cubicBezTo>
                <a:lnTo>
                  <a:pt x="146875" y="102394"/>
                </a:lnTo>
                <a:lnTo>
                  <a:pt x="294227" y="102394"/>
                </a:lnTo>
                <a:lnTo>
                  <a:pt x="294227" y="435769"/>
                </a:lnTo>
                <a:lnTo>
                  <a:pt x="121444" y="435769"/>
                </a:lnTo>
                <a:lnTo>
                  <a:pt x="121444" y="473869"/>
                </a:lnTo>
                <a:lnTo>
                  <a:pt x="502444" y="473869"/>
                </a:lnTo>
                <a:lnTo>
                  <a:pt x="502444" y="435769"/>
                </a:lnTo>
                <a:lnTo>
                  <a:pt x="332232" y="435769"/>
                </a:lnTo>
                <a:lnTo>
                  <a:pt x="332232" y="102394"/>
                </a:lnTo>
                <a:lnTo>
                  <a:pt x="477012" y="102394"/>
                </a:lnTo>
                <a:lnTo>
                  <a:pt x="388144" y="235744"/>
                </a:lnTo>
                <a:cubicBezTo>
                  <a:pt x="388144" y="298895"/>
                  <a:pt x="439293" y="350044"/>
                  <a:pt x="502444" y="350044"/>
                </a:cubicBezTo>
                <a:cubicBezTo>
                  <a:pt x="565595" y="350044"/>
                  <a:pt x="616744" y="298895"/>
                  <a:pt x="616744" y="235744"/>
                </a:cubicBezTo>
                <a:lnTo>
                  <a:pt x="502444" y="64294"/>
                </a:lnTo>
                <a:close/>
                <a:moveTo>
                  <a:pt x="121444" y="132969"/>
                </a:moveTo>
                <a:lnTo>
                  <a:pt x="189929" y="235744"/>
                </a:lnTo>
                <a:lnTo>
                  <a:pt x="52959" y="235744"/>
                </a:lnTo>
                <a:lnTo>
                  <a:pt x="121444" y="132969"/>
                </a:lnTo>
                <a:close/>
                <a:moveTo>
                  <a:pt x="121444" y="311944"/>
                </a:moveTo>
                <a:cubicBezTo>
                  <a:pt x="93345" y="311944"/>
                  <a:pt x="68771" y="296609"/>
                  <a:pt x="55531" y="273844"/>
                </a:cubicBezTo>
                <a:lnTo>
                  <a:pt x="187357" y="273844"/>
                </a:lnTo>
                <a:cubicBezTo>
                  <a:pt x="174117" y="296609"/>
                  <a:pt x="149542" y="311944"/>
                  <a:pt x="121444" y="311944"/>
                </a:cubicBezTo>
                <a:close/>
                <a:moveTo>
                  <a:pt x="570929" y="235744"/>
                </a:moveTo>
                <a:lnTo>
                  <a:pt x="433864" y="235744"/>
                </a:lnTo>
                <a:lnTo>
                  <a:pt x="502444" y="132969"/>
                </a:lnTo>
                <a:lnTo>
                  <a:pt x="570929" y="235744"/>
                </a:lnTo>
                <a:close/>
                <a:moveTo>
                  <a:pt x="502444" y="311944"/>
                </a:moveTo>
                <a:cubicBezTo>
                  <a:pt x="474345" y="311944"/>
                  <a:pt x="449771" y="296609"/>
                  <a:pt x="436531" y="273844"/>
                </a:cubicBezTo>
                <a:lnTo>
                  <a:pt x="568357" y="273844"/>
                </a:lnTo>
                <a:cubicBezTo>
                  <a:pt x="555117" y="296609"/>
                  <a:pt x="530543" y="311944"/>
                  <a:pt x="502444" y="311944"/>
                </a:cubicBezTo>
                <a:close/>
              </a:path>
            </a:pathLst>
          </a:custGeom>
          <a:solidFill>
            <a:srgbClr val="1F497D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04776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7BC95F-3317-4C36-B266-49695917DF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F086A7-2353-4A7D-AC9F-87793EF69B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9E703D-AF2F-4996-85AB-D0A8B6C42A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D9D6E-A079-4E9D-A04E-9522526BE291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6239DB1-0CF8-4372-83C6-696CA7CDE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B23D12-0396-4BF8-B270-E39F69614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4043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8CE288-174F-460C-86D5-F7D1BA42C2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ject Governanc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DAA9FA-20D0-4CCB-96C0-B947C07208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C0874-97F8-4ECC-A4D3-AE3F79FF2CF7}" type="datetime1">
              <a:rPr lang="en-US" smtClean="0"/>
              <a:t>2/2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734E82-0DB5-4BA1-B722-8F3AC9A439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POLICY AND PROGRAM DEVELOPMENT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E3B266-8761-4DFA-BBF7-1931BB7DC8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239AC-B64B-47D9-9A99-24B0D39D1C15}" type="slidenum">
              <a:rPr lang="en-US" smtClean="0"/>
              <a:t>7</a:t>
            </a:fld>
            <a:endParaRPr lang="en-US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A7A7226-527C-4DB0-8FFF-E186911E03DC}"/>
              </a:ext>
            </a:extLst>
          </p:cNvPr>
          <p:cNvCxnSpPr>
            <a:cxnSpLocks/>
          </p:cNvCxnSpPr>
          <p:nvPr/>
        </p:nvCxnSpPr>
        <p:spPr>
          <a:xfrm>
            <a:off x="6100771" y="2215391"/>
            <a:ext cx="0" cy="1929093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EFE9ECB6-D74A-4F3D-885B-ABC5ADB8127C}"/>
              </a:ext>
            </a:extLst>
          </p:cNvPr>
          <p:cNvSpPr/>
          <p:nvPr/>
        </p:nvSpPr>
        <p:spPr>
          <a:xfrm>
            <a:off x="3695014" y="2008420"/>
            <a:ext cx="4832303" cy="563298"/>
          </a:xfrm>
          <a:prstGeom prst="rect">
            <a:avLst/>
          </a:prstGeom>
          <a:solidFill>
            <a:srgbClr val="1D6FA9">
              <a:lumMod val="20000"/>
              <a:lumOff val="80000"/>
            </a:srgbClr>
          </a:solidFill>
          <a:ln w="19050" cap="flat" cmpd="sng" algn="ctr">
            <a:solidFill>
              <a:srgbClr val="1D6FA9">
                <a:lumMod val="20000"/>
                <a:lumOff val="8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Executive Steering Committee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EOTSS, EOPSS, DOC, Sheriffs, DCJIS, Trial Courts, Probation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CF4FA0D-9A3A-4DF6-92C5-29A58A3E900E}"/>
              </a:ext>
            </a:extLst>
          </p:cNvPr>
          <p:cNvSpPr/>
          <p:nvPr/>
        </p:nvSpPr>
        <p:spPr>
          <a:xfrm>
            <a:off x="3694150" y="3401995"/>
            <a:ext cx="4832940" cy="563298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Workstream Management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(Workstream Owner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Weekly meetings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201262B-A7E6-44F6-80AF-D3486CAAD577}"/>
              </a:ext>
            </a:extLst>
          </p:cNvPr>
          <p:cNvSpPr/>
          <p:nvPr/>
        </p:nvSpPr>
        <p:spPr>
          <a:xfrm>
            <a:off x="3694907" y="2702316"/>
            <a:ext cx="4832940" cy="563298"/>
          </a:xfrm>
          <a:prstGeom prst="rect">
            <a:avLst/>
          </a:prstGeom>
          <a:solidFill>
            <a:srgbClr val="1D6FA9">
              <a:lumMod val="60000"/>
              <a:lumOff val="40000"/>
            </a:srgbClr>
          </a:solidFill>
          <a:ln w="19050" cap="flat" cmpd="sng" algn="ctr">
            <a:solidFill>
              <a:srgbClr val="1D6FA9">
                <a:lumMod val="60000"/>
                <a:lumOff val="40000"/>
              </a:srgb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ment 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(Gartner, EOTSS</a:t>
            </a:r>
            <a:r>
              <a:rPr lang="en-US" sz="1200" kern="0" dirty="0">
                <a:solidFill>
                  <a:prstClr val="black"/>
                </a:solidFill>
                <a:latin typeface="Gill Sans MT" panose="020B0502020104020203" pitchFamily="34" charset="0"/>
              </a:rPr>
              <a:t> and</a:t>
            </a: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 EOPSS)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Weekly meeting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482266-1A29-4B54-8195-CDACA64AADAC}"/>
              </a:ext>
            </a:extLst>
          </p:cNvPr>
          <p:cNvCxnSpPr>
            <a:cxnSpLocks/>
          </p:cNvCxnSpPr>
          <p:nvPr/>
        </p:nvCxnSpPr>
        <p:spPr>
          <a:xfrm>
            <a:off x="1667235" y="4144484"/>
            <a:ext cx="8316653" cy="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42BEF3D-81F8-4F47-BB76-10DEAA56971F}"/>
              </a:ext>
            </a:extLst>
          </p:cNvPr>
          <p:cNvCxnSpPr>
            <a:cxnSpLocks/>
          </p:cNvCxnSpPr>
          <p:nvPr/>
        </p:nvCxnSpPr>
        <p:spPr>
          <a:xfrm>
            <a:off x="9983888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9C060004-12E7-4477-A345-D5AF4EC225E9}"/>
              </a:ext>
            </a:extLst>
          </p:cNvPr>
          <p:cNvSpPr/>
          <p:nvPr/>
        </p:nvSpPr>
        <p:spPr>
          <a:xfrm>
            <a:off x="8803788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ata Analytics Platform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2EF5A1FC-5E42-4A0D-88D1-39B048D493A3}"/>
              </a:ext>
            </a:extLst>
          </p:cNvPr>
          <p:cNvCxnSpPr>
            <a:cxnSpLocks/>
          </p:cNvCxnSpPr>
          <p:nvPr/>
        </p:nvCxnSpPr>
        <p:spPr>
          <a:xfrm>
            <a:off x="1667235" y="4155914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67B3A34E-5BA9-4B59-94DF-957D9CF40C3D}"/>
              </a:ext>
            </a:extLst>
          </p:cNvPr>
          <p:cNvSpPr/>
          <p:nvPr/>
        </p:nvSpPr>
        <p:spPr>
          <a:xfrm>
            <a:off x="368612" y="4305610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ill Sans MT" panose="020B0502020104020203" pitchFamily="34" charset="0"/>
              </a:rPr>
              <a:t>DOC and Sheriff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24EBA1C-2BA9-408C-B2D7-7B8EABDF7F3E}"/>
              </a:ext>
            </a:extLst>
          </p:cNvPr>
          <p:cNvSpPr/>
          <p:nvPr/>
        </p:nvSpPr>
        <p:spPr>
          <a:xfrm>
            <a:off x="9304476" y="2876507"/>
            <a:ext cx="2172793" cy="89902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 panose="020B0502020104020203" pitchFamily="34" charset="0"/>
              </a:rPr>
              <a:t>Project Manager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kern="0" dirty="0">
                <a:solidFill>
                  <a:prstClr val="black"/>
                </a:solidFill>
                <a:latin typeface="Gill Sans MT" panose="020B0502020104020203" pitchFamily="34" charset="0"/>
              </a:rPr>
              <a:t>Set touchpoints as needed</a:t>
            </a:r>
            <a:endParaRPr kumimoji="0" lang="en-US" sz="12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BA46A9D9-CC22-4302-AEBA-50E91743F3F8}"/>
              </a:ext>
            </a:extLst>
          </p:cNvPr>
          <p:cNvCxnSpPr/>
          <p:nvPr/>
        </p:nvCxnSpPr>
        <p:spPr>
          <a:xfrm flipV="1">
            <a:off x="8653852" y="3476426"/>
            <a:ext cx="575208" cy="277493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EE226460-2446-4B47-BE56-2345B92FCF53}"/>
              </a:ext>
            </a:extLst>
          </p:cNvPr>
          <p:cNvCxnSpPr>
            <a:cxnSpLocks/>
          </p:cNvCxnSpPr>
          <p:nvPr/>
        </p:nvCxnSpPr>
        <p:spPr>
          <a:xfrm flipH="1">
            <a:off x="8611320" y="3408909"/>
            <a:ext cx="575208" cy="2922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469648A5-BD0A-40AB-93B0-D27C78A5EDF1}"/>
              </a:ext>
            </a:extLst>
          </p:cNvPr>
          <p:cNvCxnSpPr>
            <a:cxnSpLocks/>
          </p:cNvCxnSpPr>
          <p:nvPr/>
        </p:nvCxnSpPr>
        <p:spPr>
          <a:xfrm flipH="1" flipV="1">
            <a:off x="8653852" y="2983965"/>
            <a:ext cx="532676" cy="242565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2F2778D8-760F-49DF-8874-2E99C7906BB4}"/>
              </a:ext>
            </a:extLst>
          </p:cNvPr>
          <p:cNvCxnSpPr>
            <a:cxnSpLocks/>
          </p:cNvCxnSpPr>
          <p:nvPr/>
        </p:nvCxnSpPr>
        <p:spPr>
          <a:xfrm>
            <a:off x="8673480" y="2909903"/>
            <a:ext cx="556060" cy="25107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14B1580-94C7-4ED7-B87B-A6D6E0E008F7}"/>
              </a:ext>
            </a:extLst>
          </p:cNvPr>
          <p:cNvCxnSpPr>
            <a:cxnSpLocks/>
          </p:cNvCxnSpPr>
          <p:nvPr/>
        </p:nvCxnSpPr>
        <p:spPr>
          <a:xfrm>
            <a:off x="4613282" y="4169579"/>
            <a:ext cx="0" cy="365760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C46CFF66-2CD2-4D57-87D9-40ED5BEFBFA6}"/>
              </a:ext>
            </a:extLst>
          </p:cNvPr>
          <p:cNvSpPr/>
          <p:nvPr/>
        </p:nvSpPr>
        <p:spPr>
          <a:xfrm>
            <a:off x="3219404" y="4305609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Law Enforcemen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F05B887-8079-49AD-8C21-3C2A1A89546D}"/>
              </a:ext>
            </a:extLst>
          </p:cNvPr>
          <p:cNvCxnSpPr>
            <a:cxnSpLocks/>
          </p:cNvCxnSpPr>
          <p:nvPr/>
        </p:nvCxnSpPr>
        <p:spPr>
          <a:xfrm>
            <a:off x="7389061" y="4144484"/>
            <a:ext cx="0" cy="277708"/>
          </a:xfrm>
          <a:prstGeom prst="line">
            <a:avLst/>
          </a:prstGeom>
          <a:noFill/>
          <a:ln w="19050" cap="flat" cmpd="sng" algn="ctr">
            <a:solidFill>
              <a:sysClr val="window" lastClr="FFFFFF">
                <a:lumMod val="50000"/>
              </a:sysClr>
            </a:solidFill>
            <a:prstDash val="sysDash"/>
            <a:miter lim="800000"/>
          </a:ln>
          <a:effectLst/>
        </p:spPr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735D00B8-A877-4738-A99F-E771B059CCA1}"/>
              </a:ext>
            </a:extLst>
          </p:cNvPr>
          <p:cNvSpPr/>
          <p:nvPr/>
        </p:nvSpPr>
        <p:spPr>
          <a:xfrm>
            <a:off x="6010750" y="4318222"/>
            <a:ext cx="2609956" cy="449559"/>
          </a:xfrm>
          <a:prstGeom prst="rect">
            <a:avLst/>
          </a:prstGeom>
          <a:solidFill>
            <a:srgbClr val="1F497D"/>
          </a:solidFill>
          <a:ln w="19050" cap="flat" cmpd="sng" algn="ctr">
            <a:solidFill>
              <a:srgbClr val="1F497D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prstClr val="white"/>
                </a:solidFill>
                <a:latin typeface="Gill Sans MT" panose="020B0502020104020203" pitchFamily="34" charset="0"/>
              </a:rPr>
              <a:t>Trial Court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95235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DecqGc602W0xhO2_ywe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DecqGc602W0xhO2_yw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DecqGc602W0xhO2_yw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1o6bEDgEzpJZL6TiKG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Y3TUtAWCEyVgouIKpJ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mRzxFn2ndc3EF2bQwT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6gXZgMbD3Hhifkgaog9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_zEYHNMM.i9u1UIDl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PnVO5tPQHBrguEcizx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Q2DWeAMXaWqP_Yswg2t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4LL0l1R4du6IuOHm27D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lV6MgwjgHHt3Jux.3H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297gJAX7uBE20QM2CD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moBDbXqpfZrWvQ0eF7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S4ZXSCT80CMpuhVSLv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VUxidkXTkcaFBmN4UH0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p78DyTKuYK0RoVRdtO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4Ua_lei.ijPaO9v3t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rhrDNns92i8GAiNGiT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zdYKEkiSx7UbFHW3Dv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k7SfZdhqGksTnYeijlX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QQirX1h9tNvKrB12aeT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DcbLvQ_O3eG3pQs8SQK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hqmB8oMKGJ2Z1tPNoik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Dmb.QtX0cefE3peKdM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ECdEVv3liOru1YNuY4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d8pcatJjsNG5GxFtrD2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ID_0JSrt6jrfaaNtdkI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T_BXsiDPIolonTpP0Zg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xuBgrlii3MLJbTNBgVw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ABU8dNMhYZ3cFgO1bF5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QnssRPdsWArwmFLcLx2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3AhFq_sTCZ2pD5WL69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vLEa_ieC9swT474Fy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NFRb0xjQ3NueeVOW5gq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k42uTJkqPB5_gbtORY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shTMARfdn4o5o13uRqe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hNXgWJo0gY2TbFZgAY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_E8mg3F4ndjktv6CTe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oc.f3w60ZJRjWrS5n.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6XMKahlfm6HDGKU0pO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BTA Grid 16:9">
  <a:themeElements>
    <a:clrScheme name="xxx">
      <a:dk1>
        <a:srgbClr val="000000"/>
      </a:dk1>
      <a:lt1>
        <a:srgbClr val="FFFFFF"/>
      </a:lt1>
      <a:dk2>
        <a:srgbClr val="00269E"/>
      </a:dk2>
      <a:lt2>
        <a:srgbClr val="F2F2F2"/>
      </a:lt2>
      <a:accent1>
        <a:srgbClr val="001042"/>
      </a:accent1>
      <a:accent2>
        <a:srgbClr val="001C76"/>
      </a:accent2>
      <a:accent3>
        <a:srgbClr val="5BBB2B"/>
      </a:accent3>
      <a:accent4>
        <a:srgbClr val="99CCFF"/>
      </a:accent4>
      <a:accent5>
        <a:srgbClr val="808080"/>
      </a:accent5>
      <a:accent6>
        <a:srgbClr val="00ABAB"/>
      </a:accent6>
      <a:hlink>
        <a:srgbClr val="5BBB2B"/>
      </a:hlink>
      <a:folHlink>
        <a:srgbClr val="00ABAB"/>
      </a:folHlink>
    </a:clrScheme>
    <a:fontScheme name="Custom 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69E"/>
        </a:solidFill>
        <a:ln w="9525" cap="rnd" cmpd="sng" algn="ctr">
          <a:solidFill>
            <a:srgbClr val="00269E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0C6F61F5AB3C43BCDE213D1D7F864B" ma:contentTypeVersion="10" ma:contentTypeDescription="Create a new document." ma:contentTypeScope="" ma:versionID="006f83ee43e61dcdd8f7752ded0cf6b2">
  <xsd:schema xmlns:xsd="http://www.w3.org/2001/XMLSchema" xmlns:xs="http://www.w3.org/2001/XMLSchema" xmlns:p="http://schemas.microsoft.com/office/2006/metadata/properties" xmlns:ns2="ceba6b1f-fb9f-40b9-b59e-8d52a9892625" targetNamespace="http://schemas.microsoft.com/office/2006/metadata/properties" ma:root="true" ma:fieldsID="c2d61253641a81e07251b5ba6b98ec14" ns2:_="">
    <xsd:import namespace="ceba6b1f-fb9f-40b9-b59e-8d52a989262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ba6b1f-fb9f-40b9-b59e-8d52a98926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293B895-75B6-43F3-B060-50C893BC94F2}">
  <ds:schemaRefs>
    <ds:schemaRef ds:uri="6d1ab2f6-91f9-4f14-952a-3f3eb0d68341"/>
    <ds:schemaRef ds:uri="8f2fdac3-5421-455f-b4e4-df6141b3176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22A1484-B8D1-42B8-B27E-9AEBB08221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ba6b1f-fb9f-40b9-b59e-8d52a989262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FA5E279-8224-4198-AB45-ABB452D3BF9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7</TotalTime>
  <Words>836</Words>
  <Application>Microsoft Office PowerPoint</Application>
  <PresentationFormat>Custom</PresentationFormat>
  <Paragraphs>130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5" baseType="lpstr">
      <vt:lpstr>Arial</vt:lpstr>
      <vt:lpstr>Calibri</vt:lpstr>
      <vt:lpstr>Gill Sans MT</vt:lpstr>
      <vt:lpstr>Trebuchet MS</vt:lpstr>
      <vt:lpstr>Wingdings</vt:lpstr>
      <vt:lpstr>Office Theme</vt:lpstr>
      <vt:lpstr>MBTA Grid 16:9</vt:lpstr>
      <vt:lpstr>think-cell Slide</vt:lpstr>
      <vt:lpstr>PowerPoint Presentation</vt:lpstr>
      <vt:lpstr>PowerPoint Presentation</vt:lpstr>
      <vt:lpstr>Continuing Program Execution and Developing Phase I of the Platform</vt:lpstr>
      <vt:lpstr>Phase I Cross Tracking Platform Use Cases</vt:lpstr>
      <vt:lpstr>Workstream Focus Areas</vt:lpstr>
      <vt:lpstr>PowerPoint Presentation</vt:lpstr>
      <vt:lpstr>Project Governanc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F</dc:creator>
  <cp:lastModifiedBy>Anthony,Krysta</cp:lastModifiedBy>
  <cp:revision>43</cp:revision>
  <cp:lastPrinted>2021-01-27T18:39:02Z</cp:lastPrinted>
  <dcterms:created xsi:type="dcterms:W3CDTF">2020-09-04T18:17:45Z</dcterms:created>
  <dcterms:modified xsi:type="dcterms:W3CDTF">2022-02-02T23:36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0C6F61F5AB3C43BCDE213D1D7F864B</vt:lpwstr>
  </property>
  <property fmtid="{D5CDD505-2E9C-101B-9397-08002B2CF9AE}" pid="3" name="Assignedto">
    <vt:lpwstr/>
  </property>
  <property fmtid="{D5CDD505-2E9C-101B-9397-08002B2CF9AE}" pid="4" name="ApproverAssignedto">
    <vt:lpwstr/>
  </property>
  <property fmtid="{D5CDD505-2E9C-101B-9397-08002B2CF9AE}" pid="5" name="Status">
    <vt:lpwstr>Enter Choice #1</vt:lpwstr>
  </property>
  <property fmtid="{D5CDD505-2E9C-101B-9397-08002B2CF9AE}" pid="6" name="TaxKeyword">
    <vt:lpwstr/>
  </property>
</Properties>
</file>